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5.xml" ContentType="application/vnd.openxmlformats-officedocument.them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6.xml" ContentType="application/vnd.openxmlformats-officedocument.theme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theme/theme8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9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84" r:id="rId5"/>
    <p:sldMasterId id="2147483704" r:id="rId6"/>
    <p:sldMasterId id="2147483738" r:id="rId7"/>
    <p:sldMasterId id="2147484188" r:id="rId8"/>
    <p:sldMasterId id="2147484210" r:id="rId9"/>
    <p:sldMasterId id="2147484217" r:id="rId10"/>
    <p:sldMasterId id="2147484219" r:id="rId11"/>
    <p:sldMasterId id="2147484224" r:id="rId12"/>
    <p:sldMasterId id="2147483827" r:id="rId13"/>
  </p:sldMasterIdLst>
  <p:notesMasterIdLst>
    <p:notesMasterId r:id="rId20"/>
  </p:notesMasterIdLst>
  <p:sldIdLst>
    <p:sldId id="2147482673" r:id="rId14"/>
    <p:sldId id="256" r:id="rId15"/>
    <p:sldId id="2147483249" r:id="rId16"/>
    <p:sldId id="2147483250" r:id="rId17"/>
    <p:sldId id="2147483228" r:id="rId18"/>
    <p:sldId id="2147483248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0C5405-0100-3ABD-74F4-CE52BF6C7DC3}" name="DSO Entity" initials="MA" userId="DSO Entity" providerId="None"/>
  <p188:author id="{91AEEB0A-2D21-AEFE-72DB-77E859832387}" name="Franck Dia Wagoum" initials="FD" userId="S::fdiawagoum@entsoe.eu::9dc320dc-577f-4f38-9445-4d4dd9a57fb3" providerId="AD"/>
  <p188:author id="{F9907B35-5181-8EB6-8247-F622CDDE8C24}" name="Lea Dehaudt" initials="LD" userId="S::ldehaudt@entsoe.eu::77102f70-1175-4223-8d96-a2ece5599e69" providerId="AD"/>
  <p188:author id="{0E93CA37-50B1-6259-13CF-D6599220FCE9}" name="Shilpa Bindu" initials="SB" userId="Shilpa Bindu" providerId="None"/>
  <p188:author id="{86D2353E-E8BA-21FE-1D28-FD4B43D327DE}" name="Marco Foresti" initials="MF" userId="S::mforesti@entsoe.eu::ae570ff3-332a-4855-b050-9bf62b272f14" providerId="AD"/>
  <p188:author id="{67FEB04B-1C4A-9453-3A04-0AA7E70F1D17}" name="Ioannis Theologitis" initials="IT" userId="S::itheologitis@entsoe.eu::e01622ba-7130-44cc-b28b-209111e6e455" providerId="AD"/>
  <p188:author id="{D7CE7875-AEA4-8435-4719-7BEB3ED51CF1}" name="Ilaria Federici" initials="IF" userId="S::ifederici@entsoe.eu::a15aab43-aeaa-4dea-855f-f9bfd06e7872" providerId="AD"/>
  <p188:author id="{BDBD6D7E-B6A6-D3B7-5BB2-7C262959E6E4}" name="Emil Tan" initials="ET" userId="S::etan@entsoe.eu::fe9e1e8c-1855-4b4c-8ce4-1aabe7b86007" providerId="AD"/>
  <p188:author id="{CEC14DAE-2AAD-0838-289B-5532E1692666}" name="Rodrigo Barbosa" initials="RB" userId="S::rbarbosa1@entsoe.eu::41bb04f7-341b-46d3-8238-ac8c1f8b0ab1" providerId="AD"/>
  <p188:author id="{6D7CE8D0-A2D0-BF18-223F-76E3AEEF3BBD}" name="Sarah Schulze" initials="SS" userId="S::sschulze@entsoe.eu::b2a5ac6e-211b-46f7-8eee-60569d5efeb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1D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4E5A6A-47CD-FF1E-21F4-BECE34BFE81A}" v="56" dt="2025-05-28T08:15:37.631"/>
    <p1510:client id="{F3C98122-952E-1F10-9F72-7AE072DA8654}" v="385" dt="2025-05-27T14:39:21.924"/>
    <p1510:client id="{F7450808-F950-4394-9494-C2E25C626D54}" v="71" dt="2025-05-27T15:07:56.0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99992C-BC4E-440F-BB5C-0A353C32B341}" type="datetimeFigureOut">
              <a:rPr lang="en-GB" smtClean="0"/>
              <a:t>28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AFB951-4448-4998-8541-A51143365A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27931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eing available befo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AFB951-4448-4998-8541-A51143365A2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4924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Master" Target="../slideMasters/slideMaster10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8.png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Master" Target="../slideMasters/slideMaster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Master" Target="../slideMasters/slideMaster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>
            <a:extLst>
              <a:ext uri="{FF2B5EF4-FFF2-40B4-BE49-F238E27FC236}">
                <a16:creationId xmlns:a16="http://schemas.microsoft.com/office/drawing/2014/main" id="{909A6C70-AEE2-4209-B32F-485DE1E4E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B3677969-4994-472E-9C37-1D009FED45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9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F262D997-C2EB-4727-BCED-56D9698BCB32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627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86932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6991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>
            <a:extLst>
              <a:ext uri="{FF2B5EF4-FFF2-40B4-BE49-F238E27FC236}">
                <a16:creationId xmlns:a16="http://schemas.microsoft.com/office/drawing/2014/main" id="{76839131-A3A0-ECC0-C689-894669A4104F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433136"/>
            <a:ext cx="12192000" cy="590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1227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>
            <a:extLst>
              <a:ext uri="{FF2B5EF4-FFF2-40B4-BE49-F238E27FC236}">
                <a16:creationId xmlns:a16="http://schemas.microsoft.com/office/drawing/2014/main" id="{3E034738-6F7B-4339-B423-D95572241020}"/>
              </a:ext>
            </a:extLst>
          </p:cNvPr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75" y="460747"/>
            <a:ext cx="6095825" cy="571941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6EC94A37-16A0-1999-7084-11A6C9495D33}"/>
              </a:ext>
            </a:extLst>
          </p:cNvPr>
          <p:cNvSpPr/>
          <p:nvPr userDrawn="1"/>
        </p:nvSpPr>
        <p:spPr>
          <a:xfrm>
            <a:off x="6096000" y="460747"/>
            <a:ext cx="6096000" cy="5719411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991698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303722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2">
            <a:extLst>
              <a:ext uri="{FF2B5EF4-FFF2-40B4-BE49-F238E27FC236}">
                <a16:creationId xmlns:a16="http://schemas.microsoft.com/office/drawing/2014/main" id="{FEFA9F43-24A1-3D68-7317-8CC9E5AC499C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818720"/>
            <a:ext cx="12073179" cy="3915653"/>
          </a:xfrm>
          <a:prstGeom prst="rect">
            <a:avLst/>
          </a:prstGeom>
        </p:spPr>
      </p:pic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0" i="0" kern="1200" dirty="0">
                <a:gradFill>
                  <a:gsLst>
                    <a:gs pos="0">
                      <a:srgbClr val="0F218B"/>
                    </a:gs>
                    <a:gs pos="99000">
                      <a:schemeClr val="accent2"/>
                    </a:gs>
                  </a:gsLst>
                  <a:lin ang="0" scaled="0"/>
                </a:gra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079427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 i="0">
                <a:solidFill>
                  <a:srgbClr val="0D218B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 i="0">
                <a:solidFill>
                  <a:srgbClr val="0D218B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 i="0">
                <a:solidFill>
                  <a:srgbClr val="0D218B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770137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b="0" i="0">
                <a:gradFill>
                  <a:gsLst>
                    <a:gs pos="0">
                      <a:srgbClr val="0F218B"/>
                    </a:gs>
                    <a:gs pos="99000">
                      <a:schemeClr val="accent2"/>
                    </a:gs>
                  </a:gsLst>
                  <a:lin ang="0" scaled="0"/>
                </a:gradFill>
                <a:latin typeface="Roboto Slab Medium" pitchFamily="2" charset="0"/>
                <a:ea typeface="Roboto Slab Medium" pitchFamily="2" charset="0"/>
              </a:rPr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deliver to the highest </a:t>
            </a:r>
            <a:r>
              <a:rPr lang="en-IE" sz="1200" b="0" i="0" err="1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standardss</a:t>
            </a:r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4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EXCELLENCE</a:t>
            </a:r>
            <a:endParaRPr lang="en-IE" sz="90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6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TRUST</a:t>
            </a:r>
            <a:endParaRPr lang="en-IE" sz="105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</a:br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6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INTEGRITY</a:t>
            </a:r>
            <a:endParaRPr lang="en-IE" sz="100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care about people. We work transversal and we support each other. </a:t>
            </a:r>
            <a:b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</a:br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6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TEAM</a:t>
            </a:r>
            <a:endParaRPr lang="en-IE" sz="100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</a:br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465815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6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FUTURE THINKING</a:t>
            </a:r>
            <a:endParaRPr lang="en-IE" sz="100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3855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782733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191840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541658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1068532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648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23117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367507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644829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931051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663970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/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28511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/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5960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/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32697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/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5536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490193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669546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034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381537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/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38064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4097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689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617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893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A34AC5-BD28-D037-8E50-1062A7D5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F7E1575-985A-5A14-B02B-784F756B93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3C76720-EB33-2E81-F9F2-DE1D9DFA1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EF5D9-AFCF-474D-BB75-8C84DC4DC5C4}" type="datetimeFigureOut">
              <a:rPr lang="nb-NO" smtClean="0"/>
              <a:t>28.05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D813E6-0293-9001-DB4F-5E13330668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75A8796-2717-7296-6B08-0DB426D6DA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EC666-62F0-4610-9DDE-854F433A2FE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1350529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Header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724E4EA-3AAA-1C4F-8E07-C8C275A97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47788" y="953522"/>
            <a:ext cx="10390187" cy="43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000" b="0"/>
            </a:lvl1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1F1B79E-2B92-7E4E-81D7-C8B718D42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tabLst/>
              <a:defRPr/>
            </a:lvl1pPr>
          </a:lstStyle>
          <a:p>
            <a:r>
              <a:rPr lang="nl-NL" noProof="0"/>
              <a:t>Klik om stijl te bewerken</a:t>
            </a: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ECEF4C8C-9998-1D4F-9EBF-A568A93D80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47788" y="1822450"/>
            <a:ext cx="10390186" cy="4252913"/>
          </a:xfrm>
        </p:spPr>
        <p:txBody>
          <a:bodyPr/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016824DC-B9A9-BC42-8D5F-206CE160B8FA}"/>
              </a:ext>
            </a:extLst>
          </p:cNvPr>
          <p:cNvSpPr txBox="1"/>
          <p:nvPr userDrawn="1"/>
        </p:nvSpPr>
        <p:spPr bwMode="auto">
          <a:xfrm>
            <a:off x="-2910021" y="0"/>
            <a:ext cx="267017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400" b="1" i="0" u="none" baseline="0" noProof="0">
                <a:solidFill>
                  <a:schemeClr val="tx2"/>
                </a:solidFill>
              </a:rPr>
              <a:t>De hoofdtekst heeft </a:t>
            </a:r>
            <a:br>
              <a:rPr lang="nl-NL" sz="1400" b="1" i="0" u="none" baseline="0" noProof="0">
                <a:solidFill>
                  <a:schemeClr val="tx2"/>
                </a:solidFill>
              </a:rPr>
            </a:br>
            <a:r>
              <a:rPr lang="nl-NL" sz="1400" b="1" i="0" u="none" baseline="0" noProof="0">
                <a:solidFill>
                  <a:schemeClr val="tx2"/>
                </a:solidFill>
              </a:rPr>
              <a:t>3 niveaus:</a:t>
            </a:r>
          </a:p>
          <a:p>
            <a:pPr algn="l" rtl="0">
              <a:defRPr/>
            </a:pPr>
            <a:endParaRPr lang="nl-NL" sz="1200" noProof="0">
              <a:solidFill>
                <a:schemeClr val="tx2"/>
              </a:solidFill>
            </a:endParaRPr>
          </a:p>
          <a:p>
            <a:pPr marL="108000" indent="-108000" algn="l" rtl="0">
              <a:buFont typeface="Wingdings" pitchFamily="2" charset="2"/>
              <a:buChar char="§"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Gewone tekst (niveau 1)</a:t>
            </a:r>
            <a:br>
              <a:rPr lang="nl-NL" sz="1200" noProof="0">
                <a:solidFill>
                  <a:schemeClr val="tx2"/>
                </a:solidFill>
              </a:rPr>
            </a:br>
            <a:r>
              <a:rPr lang="nl-NL" sz="1200" b="0" i="0" u="none" baseline="0" noProof="0">
                <a:solidFill>
                  <a:schemeClr val="tx2"/>
                </a:solidFill>
              </a:rPr>
              <a:t>Arial, 20pt, 80% donkergrijs</a:t>
            </a:r>
          </a:p>
          <a:p>
            <a:pPr marL="108000" indent="-108000" algn="l" rtl="0">
              <a:buFont typeface="Wingdings" pitchFamily="2" charset="2"/>
              <a:buChar char="§"/>
              <a:defRPr/>
            </a:pPr>
            <a:endParaRPr lang="nl-NL" sz="900" noProof="0">
              <a:solidFill>
                <a:schemeClr val="tx2"/>
              </a:solidFill>
            </a:endParaRPr>
          </a:p>
          <a:p>
            <a:pPr marL="216000" indent="-108000" algn="l" rtl="0">
              <a:buFont typeface=".Lucida Grande UI Regular"/>
              <a:buChar char="▫"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Gewone tekst (niveau 2)</a:t>
            </a:r>
            <a:br>
              <a:rPr lang="nl-NL" sz="1200" noProof="0">
                <a:solidFill>
                  <a:schemeClr val="tx2"/>
                </a:solidFill>
              </a:rPr>
            </a:br>
            <a:r>
              <a:rPr lang="nl-NL" sz="1200" b="0" i="0" u="none" baseline="0" noProof="0">
                <a:solidFill>
                  <a:schemeClr val="tx2"/>
                </a:solidFill>
              </a:rPr>
              <a:t>Arial, 20pt, 80% donkergrijs</a:t>
            </a:r>
          </a:p>
          <a:p>
            <a:pPr marL="285750" indent="-171450" algn="l" rtl="0">
              <a:buFont typeface=".Lucida Grande UI Regular"/>
              <a:buChar char="▫"/>
              <a:defRPr/>
            </a:pPr>
            <a:endParaRPr lang="nl-NL" sz="1200" noProof="0">
              <a:solidFill>
                <a:schemeClr val="tx2"/>
              </a:solidFill>
            </a:endParaRPr>
          </a:p>
          <a:p>
            <a:pPr marL="324000" indent="-108000" algn="l" rtl="0">
              <a:buFont typeface=".Lucida Grande UI Regular"/>
              <a:buChar char="▫"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Gewone tekst (niveau 3)</a:t>
            </a:r>
            <a:br>
              <a:rPr lang="nl-NL" sz="1200" noProof="0">
                <a:solidFill>
                  <a:schemeClr val="tx2"/>
                </a:solidFill>
              </a:rPr>
            </a:br>
            <a:r>
              <a:rPr lang="nl-NL" sz="1200" b="0" i="0" u="none" baseline="0" noProof="0">
                <a:solidFill>
                  <a:schemeClr val="tx2"/>
                </a:solidFill>
              </a:rPr>
              <a:t>Arial, 20pt, 80% donkergrijs</a:t>
            </a:r>
          </a:p>
          <a:p>
            <a:pPr marL="0" indent="0" algn="l" rtl="0">
              <a:buFont typeface=".Lucida Grande UI Regular"/>
              <a:buNone/>
              <a:tabLst/>
              <a:defRPr/>
            </a:pPr>
            <a:endParaRPr lang="nl-NL" sz="1200" noProof="0">
              <a:solidFill>
                <a:schemeClr val="tx2"/>
              </a:solidFill>
            </a:endParaRPr>
          </a:p>
          <a:p>
            <a:pPr marL="0" indent="0" algn="l" rtl="0">
              <a:buFont typeface=".Lucida Grande UI Regular"/>
              <a:buNone/>
              <a:tabLst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De tekst wordt automatisch kleiner naarmate je meer tekst toevoegt. Probeer niet kleiner te gaan </a:t>
            </a:r>
            <a:br>
              <a:rPr lang="nl-NL" sz="1200" b="0" i="0" u="none" baseline="0" noProof="0">
                <a:solidFill>
                  <a:schemeClr val="tx2"/>
                </a:solidFill>
              </a:rPr>
            </a:br>
            <a:r>
              <a:rPr lang="nl-NL" sz="1200" b="0" i="0" u="none" baseline="0" noProof="0">
                <a:solidFill>
                  <a:schemeClr val="tx2"/>
                </a:solidFill>
              </a:rPr>
              <a:t>dan 14 pt.</a:t>
            </a:r>
          </a:p>
          <a:p>
            <a:pPr marL="0" indent="0" algn="l" rtl="0">
              <a:buFont typeface=".Lucida Grande UI Regular"/>
              <a:buNone/>
              <a:tabLst/>
              <a:defRPr/>
            </a:pPr>
            <a:endParaRPr lang="nl-NL" sz="1200" noProof="0">
              <a:solidFill>
                <a:schemeClr val="tx2"/>
              </a:solidFill>
            </a:endParaRPr>
          </a:p>
          <a:p>
            <a:pPr marL="0" indent="0" algn="l" rtl="0">
              <a:buFont typeface=".Lucida Grande UI Regular"/>
              <a:buNone/>
              <a:tabLst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Houd je titels kort en bondig. Ze worden niet kleiner naarmate je meer tekst toevoegt.</a:t>
            </a:r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67EBCD7-B3E8-48AD-AAAF-CE129139BC6F}" type="slidenum">
              <a:rPr lang="nl-NL" smtClean="0"/>
              <a:pPr/>
              <a:t>‹#›</a:t>
            </a:fld>
            <a:endParaRPr lang="nl-NL" b="0"/>
          </a:p>
        </p:txBody>
      </p:sp>
    </p:spTree>
    <p:extLst>
      <p:ext uri="{BB962C8B-B14F-4D97-AF65-F5344CB8AC3E}">
        <p14:creationId xmlns:p14="http://schemas.microsoft.com/office/powerpoint/2010/main" val="86096357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F1B79E-2B92-7E4E-81D7-C8B718D427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/>
              <a:defRPr/>
            </a:lvl1pPr>
          </a:lstStyle>
          <a:p>
            <a:r>
              <a:rPr lang="nl-NL" noProof="0"/>
              <a:t>Agenda</a:t>
            </a: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ECEF4C8C-9998-1D4F-9EBF-A568A93D80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47787" y="1822450"/>
            <a:ext cx="10390499" cy="4252914"/>
          </a:xfr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/>
            </a:lvl1pPr>
            <a:lvl2pPr marL="720000" indent="-360000">
              <a:buFont typeface="+mj-lt"/>
              <a:buAutoNum type="alphaLcPeriod"/>
              <a:defRPr sz="1600"/>
            </a:lvl2pPr>
            <a:lvl3pPr marL="1080000" indent="-360000">
              <a:buFont typeface="+mj-lt"/>
              <a:buAutoNum type="alphaLcPeriod"/>
              <a:defRPr sz="1400"/>
            </a:lvl3pPr>
            <a:lvl4pPr marL="1440000" indent="-360000">
              <a:buFont typeface="+mj-lt"/>
              <a:buAutoNum type="alphaLcPeriod"/>
              <a:defRPr sz="1400"/>
            </a:lvl4pPr>
            <a:lvl5pPr marL="1800000" indent="-360000">
              <a:buFont typeface="+mj-lt"/>
              <a:buAutoNum type="alphaLcPeriod"/>
              <a:defRPr sz="14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9" name="Tijdelijke aanduiding voor tekst 7">
            <a:extLst>
              <a:ext uri="{FF2B5EF4-FFF2-40B4-BE49-F238E27FC236}">
                <a16:creationId xmlns:a16="http://schemas.microsoft.com/office/drawing/2014/main" id="{26566F7A-0D09-754E-A8CF-53C20CB42E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7788" y="953522"/>
            <a:ext cx="10390187" cy="43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000" b="0"/>
            </a:lvl1pPr>
          </a:lstStyle>
          <a:p>
            <a:pPr lvl="0"/>
            <a:r>
              <a:rPr lang="nl-NL" noProof="0"/>
              <a:t>Naam evenement</a:t>
            </a:r>
          </a:p>
        </p:txBody>
      </p:sp>
      <p:sp>
        <p:nvSpPr>
          <p:cNvPr id="40" name="Tekstvak 39">
            <a:extLst>
              <a:ext uri="{FF2B5EF4-FFF2-40B4-BE49-F238E27FC236}">
                <a16:creationId xmlns:a16="http://schemas.microsoft.com/office/drawing/2014/main" id="{7EBA56F5-EE73-CB49-9339-672D363042E9}"/>
              </a:ext>
            </a:extLst>
          </p:cNvPr>
          <p:cNvSpPr txBox="1"/>
          <p:nvPr userDrawn="1"/>
        </p:nvSpPr>
        <p:spPr bwMode="auto">
          <a:xfrm>
            <a:off x="-2921620" y="0"/>
            <a:ext cx="267017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400" b="1" i="0" u="none" baseline="0" noProof="0">
                <a:solidFill>
                  <a:schemeClr val="tx2"/>
                </a:solidFill>
              </a:rPr>
              <a:t>De hoofdtekst heeft </a:t>
            </a:r>
            <a:br>
              <a:rPr lang="nl-NL" sz="1400" b="1" i="0" u="none" baseline="0" noProof="0">
                <a:solidFill>
                  <a:schemeClr val="tx2"/>
                </a:solidFill>
              </a:rPr>
            </a:br>
            <a:r>
              <a:rPr lang="nl-NL" sz="1400" b="1" i="0" u="none" baseline="0" noProof="0">
                <a:solidFill>
                  <a:schemeClr val="tx2"/>
                </a:solidFill>
              </a:rPr>
              <a:t>3 niveaus:</a:t>
            </a:r>
          </a:p>
          <a:p>
            <a:pPr algn="l" rtl="0">
              <a:defRPr/>
            </a:pPr>
            <a:endParaRPr lang="nl-NL" sz="1200" noProof="0">
              <a:solidFill>
                <a:schemeClr val="tx2"/>
              </a:solidFill>
            </a:endParaRPr>
          </a:p>
          <a:p>
            <a:pPr marL="228600" indent="-228600" algn="l" rtl="0">
              <a:buFont typeface="+mj-lt"/>
              <a:buAutoNum type="arabicPeriod"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Gewone tekst (niveau 1)</a:t>
            </a:r>
            <a:br>
              <a:rPr lang="nl-NL" sz="1200" noProof="0">
                <a:solidFill>
                  <a:schemeClr val="tx2"/>
                </a:solidFill>
              </a:rPr>
            </a:br>
            <a:r>
              <a:rPr lang="nl-NL" sz="1200" b="0" i="0" u="none" baseline="0" noProof="0">
                <a:solidFill>
                  <a:schemeClr val="tx2"/>
                </a:solidFill>
              </a:rPr>
              <a:t>Arial, 20pt, 80% donkergrijs</a:t>
            </a:r>
          </a:p>
          <a:p>
            <a:pPr marL="108000" indent="-108000" algn="l" rtl="0">
              <a:buFont typeface="Wingdings" pitchFamily="2" charset="2"/>
              <a:buChar char="§"/>
              <a:defRPr/>
            </a:pPr>
            <a:endParaRPr lang="nl-NL" sz="900" noProof="0">
              <a:solidFill>
                <a:schemeClr val="tx2"/>
              </a:solidFill>
            </a:endParaRPr>
          </a:p>
          <a:p>
            <a:pPr marL="336600" indent="-228600" algn="l" rtl="0">
              <a:buFont typeface="+mj-lt"/>
              <a:buAutoNum type="alphaLcPeriod"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Gewone tekst (niveau 2)</a:t>
            </a:r>
            <a:br>
              <a:rPr lang="nl-NL" sz="1200" noProof="0">
                <a:solidFill>
                  <a:schemeClr val="tx2"/>
                </a:solidFill>
              </a:rPr>
            </a:br>
            <a:r>
              <a:rPr lang="nl-NL" sz="1200" b="0" i="0" u="none" baseline="0" noProof="0">
                <a:solidFill>
                  <a:schemeClr val="tx2"/>
                </a:solidFill>
              </a:rPr>
              <a:t>Arial, 16pt, 80% donkergrijs</a:t>
            </a:r>
          </a:p>
          <a:p>
            <a:pPr marL="342900" indent="-228600" algn="l" rtl="0">
              <a:buFont typeface="+mj-lt"/>
              <a:buAutoNum type="alphaLcPeriod"/>
              <a:defRPr/>
            </a:pPr>
            <a:endParaRPr lang="nl-NL" sz="1200" noProof="0">
              <a:solidFill>
                <a:schemeClr val="tx2"/>
              </a:solidFill>
            </a:endParaRPr>
          </a:p>
          <a:p>
            <a:pPr marL="444600" indent="-228600" algn="l" rtl="0">
              <a:buFont typeface="+mj-lt"/>
              <a:buAutoNum type="alphaLcPeriod"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Gewone tekst (niveau 3)</a:t>
            </a:r>
            <a:br>
              <a:rPr lang="nl-NL" sz="1200" noProof="0">
                <a:solidFill>
                  <a:schemeClr val="tx2"/>
                </a:solidFill>
              </a:rPr>
            </a:br>
            <a:r>
              <a:rPr lang="nl-NL" sz="1200" b="0" i="0" u="none" baseline="0" noProof="0">
                <a:solidFill>
                  <a:schemeClr val="tx2"/>
                </a:solidFill>
              </a:rPr>
              <a:t>Arial, 14pt, 80% donkergrijs</a:t>
            </a:r>
          </a:p>
          <a:p>
            <a:pPr marL="444600" indent="-228600" algn="l" rtl="0">
              <a:buFont typeface="+mj-lt"/>
              <a:buAutoNum type="alphaLcPeriod"/>
              <a:defRPr/>
            </a:pPr>
            <a:endParaRPr lang="nl-NL" sz="1200" noProof="0">
              <a:solidFill>
                <a:schemeClr val="tx2"/>
              </a:solidFill>
            </a:endParaRPr>
          </a:p>
          <a:p>
            <a:pPr marL="0" indent="0" algn="l" rtl="0">
              <a:buFont typeface=".Lucida Grande UI Regular"/>
              <a:buNone/>
              <a:tabLst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De tekst wordt automatisch kleiner naarmate je meer tekst toevoegt. Probeer niet kleiner te gaan </a:t>
            </a:r>
            <a:br>
              <a:rPr lang="nl-NL" sz="1200" b="0" i="0" u="none" baseline="0" noProof="0">
                <a:solidFill>
                  <a:schemeClr val="tx2"/>
                </a:solidFill>
              </a:rPr>
            </a:br>
            <a:r>
              <a:rPr lang="nl-NL" sz="1200" b="0" i="0" u="none" baseline="0" noProof="0">
                <a:solidFill>
                  <a:schemeClr val="tx2"/>
                </a:solidFill>
              </a:rPr>
              <a:t>dan 14 pt.</a:t>
            </a:r>
          </a:p>
          <a:p>
            <a:pPr marL="0" indent="0" algn="l" rtl="0">
              <a:buFont typeface=".Lucida Grande UI Regular"/>
              <a:buNone/>
              <a:tabLst/>
              <a:defRPr/>
            </a:pPr>
            <a:endParaRPr lang="nl-NL" sz="1200" noProof="0">
              <a:solidFill>
                <a:schemeClr val="tx2"/>
              </a:solidFill>
            </a:endParaRPr>
          </a:p>
          <a:p>
            <a:pPr marL="0" indent="0" algn="l" rtl="0">
              <a:buFont typeface=".Lucida Grande UI Regular"/>
              <a:buNone/>
              <a:tabLst/>
              <a:defRPr/>
            </a:pPr>
            <a:r>
              <a:rPr lang="nl-NL" sz="1200" b="0" i="0" u="none" baseline="0" noProof="0">
                <a:solidFill>
                  <a:schemeClr val="tx2"/>
                </a:solidFill>
              </a:rPr>
              <a:t>Houd je titels kort en bondig. Ze worden niet kleiner naarmate je meer tekst toevoegt.</a:t>
            </a:r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67EBCD7-B3E8-48AD-AAAF-CE129139BC6F}" type="slidenum">
              <a:rPr lang="nl-NL" smtClean="0"/>
              <a:pPr/>
              <a:t>‹#›</a:t>
            </a:fld>
            <a:endParaRPr lang="nl-NL" b="0"/>
          </a:p>
        </p:txBody>
      </p:sp>
    </p:spTree>
    <p:extLst>
      <p:ext uri="{BB962C8B-B14F-4D97-AF65-F5344CB8AC3E}">
        <p14:creationId xmlns:p14="http://schemas.microsoft.com/office/powerpoint/2010/main" val="18217709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3A37F8-CA46-991D-7616-187A46269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4ABC03E-97C1-A789-725A-9F43A8375B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0AEF5E7-48C0-A0D4-772B-A13F893270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1476FB-3459-223D-3AD4-4F522BB73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4C355-F5C3-4167-A27D-B9237F59702B}" type="datetimeFigureOut">
              <a:rPr lang="de-AT" smtClean="0"/>
              <a:t>28.05.2025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D708572-6815-8A6A-D65D-81226E7D4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B762E42-A2A4-6B61-6430-35FFD848B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50034-258A-4AB0-B85C-11137B9585E4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94349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2862760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Header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46B7EFA-5249-014A-9A6E-4C9BABB52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53A89-35A0-4A5C-8560-39113335A201}" type="datetime4">
              <a:rPr lang="de-DE" noProof="0" smtClean="0"/>
              <a:t>28. Mai 2025</a:t>
            </a:fld>
            <a:endParaRPr lang="de-DE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A63CE5E-7964-8448-8AE3-9DC9C8BF7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noProof="0"/>
              <a:t>Vertraulich</a:t>
            </a:r>
            <a:endParaRPr lang="de-DE" b="1" noProof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55B2331-2753-B94F-9A03-CB328DE91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AF0F1-83F4-0746-A551-EEC1F1FEC0BD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724E4EA-3AAA-1C4F-8E07-C8C275A97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47788" y="953522"/>
            <a:ext cx="10390187" cy="43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000" b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1F1B79E-2B92-7E4E-81D7-C8B718D42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tabLst/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0B434AD4-019A-444E-8AA9-2A6189045503}"/>
              </a:ext>
            </a:extLst>
          </p:cNvPr>
          <p:cNvSpPr txBox="1"/>
          <p:nvPr userDrawn="1"/>
        </p:nvSpPr>
        <p:spPr bwMode="auto">
          <a:xfrm>
            <a:off x="-2921308" y="0"/>
            <a:ext cx="267017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i="0" u="none" baseline="0" noProof="0">
                <a:solidFill>
                  <a:schemeClr val="tx2"/>
                </a:solidFill>
              </a:rPr>
              <a:t>Der Textkörper hat drei Listenebenen:</a:t>
            </a:r>
          </a:p>
          <a:p>
            <a:pPr algn="l" rtl="0">
              <a:defRPr/>
            </a:pPr>
            <a:endParaRPr lang="de-DE" sz="1200" noProof="0">
              <a:solidFill>
                <a:schemeClr val="tx2"/>
              </a:solidFill>
            </a:endParaRPr>
          </a:p>
          <a:p>
            <a:pPr marL="108000" indent="-108000" algn="l" rtl="0">
              <a:buFont typeface="Wingdings" pitchFamily="2" charset="2"/>
              <a:buChar char="§"/>
              <a:defRPr/>
            </a:pPr>
            <a:r>
              <a:rPr lang="de-DE" sz="1200" b="0" i="0" u="none" baseline="0" noProof="0">
                <a:solidFill>
                  <a:schemeClr val="tx2"/>
                </a:solidFill>
              </a:rPr>
              <a:t>Normaler Text (Ebene 1)</a:t>
            </a:r>
            <a:br>
              <a:rPr lang="de-DE" sz="1200" noProof="0">
                <a:solidFill>
                  <a:schemeClr val="tx2"/>
                </a:solidFill>
              </a:rPr>
            </a:br>
            <a:r>
              <a:rPr lang="de-DE" sz="1200" b="0" i="0" u="none" baseline="0" noProof="0">
                <a:solidFill>
                  <a:schemeClr val="tx2"/>
                </a:solidFill>
              </a:rPr>
              <a:t>Arial, 20pt, 80 %, dunkelgrau</a:t>
            </a:r>
          </a:p>
          <a:p>
            <a:pPr marL="108000" indent="-108000" algn="l" rtl="0">
              <a:buFont typeface="Wingdings" pitchFamily="2" charset="2"/>
              <a:buChar char="§"/>
              <a:defRPr/>
            </a:pPr>
            <a:endParaRPr lang="de-DE" sz="900" noProof="0">
              <a:solidFill>
                <a:schemeClr val="tx2"/>
              </a:solidFill>
            </a:endParaRPr>
          </a:p>
          <a:p>
            <a:pPr marL="216000" indent="-108000" algn="l" rtl="0">
              <a:buFont typeface=".Lucida Grande UI Regular"/>
              <a:buChar char="▫"/>
              <a:defRPr/>
            </a:pPr>
            <a:r>
              <a:rPr lang="de-DE" sz="1200" b="0" i="0" u="none" baseline="0" noProof="0">
                <a:solidFill>
                  <a:schemeClr val="tx2"/>
                </a:solidFill>
              </a:rPr>
              <a:t>Normaler Text (Ebene 2)</a:t>
            </a:r>
            <a:br>
              <a:rPr lang="de-DE" sz="1200" noProof="0">
                <a:solidFill>
                  <a:schemeClr val="tx2"/>
                </a:solidFill>
              </a:rPr>
            </a:br>
            <a:r>
              <a:rPr lang="de-DE" sz="1200" b="0" i="0" u="none" baseline="0" noProof="0">
                <a:solidFill>
                  <a:schemeClr val="tx2"/>
                </a:solidFill>
              </a:rPr>
              <a:t>Arial, 20pt, 80 %, dunkelgrau</a:t>
            </a:r>
          </a:p>
          <a:p>
            <a:pPr marL="285750" indent="-171450" algn="l" rtl="0">
              <a:buFont typeface=".Lucida Grande UI Regular"/>
              <a:buChar char="▫"/>
              <a:defRPr/>
            </a:pPr>
            <a:endParaRPr lang="de-DE" sz="1200" noProof="0">
              <a:solidFill>
                <a:schemeClr val="tx2"/>
              </a:solidFill>
            </a:endParaRPr>
          </a:p>
          <a:p>
            <a:pPr marL="324000" indent="-108000" algn="l" rtl="0">
              <a:buFont typeface=".Lucida Grande UI Regular"/>
              <a:buChar char="▫"/>
              <a:defRPr/>
            </a:pPr>
            <a:r>
              <a:rPr lang="de-DE" sz="1200" b="0" i="0" u="none" baseline="0" noProof="0">
                <a:solidFill>
                  <a:schemeClr val="tx2"/>
                </a:solidFill>
              </a:rPr>
              <a:t>Normaler Text (Ebene 3)</a:t>
            </a:r>
            <a:br>
              <a:rPr lang="de-DE" sz="1200" noProof="0">
                <a:solidFill>
                  <a:schemeClr val="tx2"/>
                </a:solidFill>
              </a:rPr>
            </a:br>
            <a:r>
              <a:rPr lang="de-DE" sz="1200" b="0" i="0" u="none" baseline="0" noProof="0">
                <a:solidFill>
                  <a:schemeClr val="tx2"/>
                </a:solidFill>
              </a:rPr>
              <a:t>Arial, 20pt, 80 %, dunkelgrau</a:t>
            </a:r>
          </a:p>
          <a:p>
            <a:pPr marL="0" indent="0" algn="l" rtl="0">
              <a:buFont typeface=".Lucida Grande UI Regular"/>
              <a:buNone/>
              <a:tabLst/>
              <a:defRPr/>
            </a:pPr>
            <a:endParaRPr lang="de-DE" sz="1200" noProof="0">
              <a:solidFill>
                <a:schemeClr val="tx2"/>
              </a:solidFill>
            </a:endParaRPr>
          </a:p>
          <a:p>
            <a:pPr marL="0" indent="0" algn="l" rtl="0">
              <a:buFont typeface=".Lucida Grande UI Regular"/>
              <a:buNone/>
              <a:tabLst/>
              <a:defRPr/>
            </a:pPr>
            <a:r>
              <a:rPr lang="de-DE" sz="1200" b="0" i="0" u="none" baseline="0" noProof="0">
                <a:solidFill>
                  <a:schemeClr val="tx2"/>
                </a:solidFill>
              </a:rPr>
              <a:t>Bei einem sehr langen Text verkleinert sich der Text automatisch. Versuchen Sie, eine Größe von 14pt nicht zu unterschreiten.</a:t>
            </a:r>
          </a:p>
          <a:p>
            <a:pPr marL="0" indent="0" algn="l" rtl="0">
              <a:buFont typeface=".Lucida Grande UI Regular"/>
              <a:buNone/>
              <a:tabLst/>
              <a:defRPr/>
            </a:pPr>
            <a:endParaRPr lang="de-DE" sz="1200" noProof="0">
              <a:solidFill>
                <a:schemeClr val="tx2"/>
              </a:solidFill>
            </a:endParaRPr>
          </a:p>
          <a:p>
            <a:pPr marL="0" indent="0" algn="l" rtl="0">
              <a:buFont typeface=".Lucida Grande UI Regular"/>
              <a:buNone/>
              <a:tabLst/>
              <a:defRPr/>
            </a:pPr>
            <a:r>
              <a:rPr lang="de-DE" sz="1200" b="0" i="0" u="none" baseline="0" noProof="0">
                <a:solidFill>
                  <a:schemeClr val="tx2"/>
                </a:solidFill>
              </a:rPr>
              <a:t>Halten Sie Ihre Titelzeilen kurz und präzise. Diese verkleinern sich nicht.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A87CE8C-B8F3-43C6-AECC-2514AC6171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47788" y="1822450"/>
            <a:ext cx="10393362" cy="4252913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0683763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531D9094-5B79-664F-A204-CB72EA13F9A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02" y="1200"/>
            <a:ext cx="12204000" cy="6876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E444DB6-F541-FD46-986A-0BF95FFE73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85000"/>
          </a:blip>
          <a:srcRect l="406" t="27923"/>
          <a:stretch/>
        </p:blipFill>
        <p:spPr>
          <a:xfrm>
            <a:off x="-7774" y="-11430"/>
            <a:ext cx="6095999" cy="570273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172D319-ED14-154B-87CA-19F9E5848A8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770853" y="4436853"/>
            <a:ext cx="2440347" cy="2440347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1890187"/>
            <a:ext cx="5100637" cy="629813"/>
          </a:xfrm>
        </p:spPr>
        <p:txBody>
          <a:bodyPr>
            <a:noAutofit/>
          </a:bodyPr>
          <a:lstStyle>
            <a:lvl1pPr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Unterzeil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79424" y="563987"/>
            <a:ext cx="5580064" cy="1331913"/>
          </a:xfrm>
        </p:spPr>
        <p:txBody>
          <a:bodyPr>
            <a:noAutofit/>
          </a:bodyPr>
          <a:lstStyle>
            <a:lvl1pPr>
              <a:defRPr sz="30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Titel mit Bild</a:t>
            </a:r>
          </a:p>
        </p:txBody>
      </p:sp>
    </p:spTree>
    <p:extLst>
      <p:ext uri="{BB962C8B-B14F-4D97-AF65-F5344CB8AC3E}">
        <p14:creationId xmlns:p14="http://schemas.microsoft.com/office/powerpoint/2010/main" val="3456602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>
          <p15:clr>
            <a:srgbClr val="FBAE40"/>
          </p15:clr>
        </p15:guide>
        <p15:guide id="2" orient="horz" pos="1185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pos="3817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479425" y="1557339"/>
            <a:ext cx="5508625" cy="4536000"/>
          </a:xfrm>
        </p:spPr>
        <p:txBody>
          <a:bodyPr>
            <a:normAutofit/>
          </a:bodyPr>
          <a:lstStyle>
            <a:lvl1pPr marL="285750" indent="-285750">
              <a:buClr>
                <a:srgbClr val="5C2483"/>
              </a:buClr>
              <a:buFont typeface="Arial" panose="020B0604020202020204" pitchFamily="34" charset="0"/>
              <a:buChar char="•"/>
              <a:defRPr sz="1500"/>
            </a:lvl1pPr>
            <a:lvl2pPr>
              <a:defRPr sz="1500"/>
            </a:lvl2pPr>
            <a:lvl3pPr marL="434915" indent="-285750">
              <a:buClr>
                <a:srgbClr val="5C2483"/>
              </a:buClr>
              <a:buFont typeface="Arial" panose="020B0604020202020204" pitchFamily="34" charset="0"/>
              <a:buChar char="•"/>
              <a:defRPr sz="1200"/>
            </a:lvl3pPr>
            <a:lvl4pPr marL="588548" indent="-285750">
              <a:buClr>
                <a:srgbClr val="5C2483"/>
              </a:buClr>
              <a:buFont typeface="Arial" panose="020B0604020202020204" pitchFamily="34" charset="0"/>
              <a:buChar char="•"/>
              <a:defRPr sz="1000"/>
            </a:lvl4pPr>
            <a:lvl5pPr marL="737712" indent="-285750">
              <a:buClr>
                <a:srgbClr val="5C2483"/>
              </a:buClr>
              <a:buFont typeface="Arial" panose="020B0604020202020204" pitchFamily="34" charset="0"/>
              <a:buChar char="•"/>
              <a:defRPr sz="800"/>
            </a:lvl5pPr>
            <a:lvl6pPr marL="861945" indent="-152739">
              <a:buClr>
                <a:srgbClr val="5C2483"/>
              </a:buClr>
              <a:buFont typeface="Arial" panose="020B0604020202020204" pitchFamily="34" charset="0"/>
              <a:buChar char="•"/>
              <a:defRPr sz="8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6203950" y="1557340"/>
            <a:ext cx="5545138" cy="4536000"/>
          </a:xfrm>
        </p:spPr>
        <p:txBody>
          <a:bodyPr>
            <a:normAutofit/>
          </a:bodyPr>
          <a:lstStyle>
            <a:lvl1pPr marL="285750" indent="-285750">
              <a:buClr>
                <a:srgbClr val="5C2483"/>
              </a:buClr>
              <a:buFont typeface="Arial" panose="020B0604020202020204" pitchFamily="34" charset="0"/>
              <a:buChar char="•"/>
              <a:defRPr sz="1500"/>
            </a:lvl1pPr>
            <a:lvl2pPr>
              <a:defRPr sz="1500"/>
            </a:lvl2pPr>
            <a:lvl3pPr marL="434915" indent="-285750">
              <a:buClr>
                <a:srgbClr val="5C2483"/>
              </a:buClr>
              <a:buFont typeface="Arial" panose="020B0604020202020204" pitchFamily="34" charset="0"/>
              <a:buChar char="•"/>
              <a:defRPr sz="1200"/>
            </a:lvl3pPr>
            <a:lvl4pPr marL="588548" indent="-285750">
              <a:buClr>
                <a:srgbClr val="5C2483"/>
              </a:buClr>
              <a:buFont typeface="Arial" panose="020B0604020202020204" pitchFamily="34" charset="0"/>
              <a:buChar char="•"/>
              <a:defRPr sz="1000"/>
            </a:lvl4pPr>
            <a:lvl5pPr marL="737712" indent="-285750">
              <a:buClr>
                <a:srgbClr val="5C2483"/>
              </a:buClr>
              <a:buFont typeface="Arial" panose="020B0604020202020204" pitchFamily="34" charset="0"/>
              <a:buChar char="•"/>
              <a:defRPr sz="800"/>
            </a:lvl5pPr>
            <a:lvl6pPr marL="861945" indent="-152739">
              <a:buClr>
                <a:srgbClr val="5C2483"/>
              </a:buClr>
              <a:buFont typeface="Arial" panose="020B0604020202020204" pitchFamily="34" charset="0"/>
              <a:buChar char="•"/>
              <a:defRPr sz="8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333375"/>
            <a:ext cx="9901238" cy="4318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3000" b="1" cap="all" baseline="0" dirty="0"/>
            </a:lvl1pPr>
          </a:lstStyle>
          <a:p>
            <a:pPr lvl="0"/>
            <a:r>
              <a:rPr lang="de-DE"/>
              <a:t>Titelzeile</a:t>
            </a:r>
          </a:p>
        </p:txBody>
      </p:sp>
      <p:sp>
        <p:nvSpPr>
          <p:cNvPr id="10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65175"/>
            <a:ext cx="9901238" cy="395288"/>
          </a:xfrm>
        </p:spPr>
        <p:txBody>
          <a:bodyPr tIns="0" rIns="0" bIns="0">
            <a:noAutofit/>
          </a:bodyPr>
          <a:lstStyle>
            <a:lvl1pPr>
              <a:defRPr sz="2500" cap="all" baseline="0"/>
            </a:lvl1pPr>
          </a:lstStyle>
          <a:p>
            <a:pPr lvl="0"/>
            <a:r>
              <a:rPr lang="de-DE"/>
              <a:t>Unterzei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7DDD6C6-20CE-4E57-AE00-C21E005D7DCD}" type="datetime1">
              <a:rPr lang="de-DE" smtClean="0"/>
              <a:t>28.05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err="1"/>
              <a:t>Amprion</a:t>
            </a:r>
            <a:r>
              <a:rPr lang="de-DE"/>
              <a:t> | Unternehmenspräsentatio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261D492-7F4B-4A3C-808E-F109F4472C8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0217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3772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orient="horz" pos="981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pitel - ohne Bi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6172D319-ED14-154B-87CA-19F9E5848A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770853" y="4436853"/>
            <a:ext cx="2440347" cy="244034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8800" y="1628774"/>
            <a:ext cx="5776676" cy="1331914"/>
          </a:xfrm>
        </p:spPr>
        <p:txBody>
          <a:bodyPr>
            <a:normAutofit/>
          </a:bodyPr>
          <a:lstStyle>
            <a:lvl1pPr>
              <a:defRPr sz="3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2960688"/>
            <a:ext cx="5783263" cy="684212"/>
          </a:xfrm>
        </p:spPr>
        <p:txBody>
          <a:bodyPr>
            <a:normAutofit/>
          </a:bodyPr>
          <a:lstStyle>
            <a:lvl1pPr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thema</a:t>
            </a:r>
          </a:p>
        </p:txBody>
      </p:sp>
    </p:spTree>
    <p:extLst>
      <p:ext uri="{BB962C8B-B14F-4D97-AF65-F5344CB8AC3E}">
        <p14:creationId xmlns:p14="http://schemas.microsoft.com/office/powerpoint/2010/main" val="2488404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1865">
          <p15:clr>
            <a:srgbClr val="FBAE40"/>
          </p15:clr>
        </p15:guide>
        <p15:guide id="4" orient="horz" pos="2296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G_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92217" y="391902"/>
            <a:ext cx="11406965" cy="333425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ts val="2613"/>
              </a:lnSpc>
              <a:defRPr sz="2177" b="1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92217" y="1306342"/>
            <a:ext cx="11406965" cy="4898782"/>
          </a:xfrm>
        </p:spPr>
        <p:txBody>
          <a:bodyPr lIns="0" tIns="0" rIns="0" bIns="0"/>
          <a:lstStyle>
            <a:lvl1pPr marL="228614" indent="-228614">
              <a:lnSpc>
                <a:spcPts val="1996"/>
              </a:lnSpc>
              <a:spcBef>
                <a:spcPts val="0"/>
              </a:spcBef>
              <a:spcAft>
                <a:spcPts val="635"/>
              </a:spcAft>
              <a:buFont typeface="Arial" panose="020B0604020202020204" pitchFamily="34" charset="0"/>
              <a:buChar char="•"/>
              <a:defRPr sz="1633" b="0">
                <a:solidFill>
                  <a:schemeClr val="tx1"/>
                </a:solidFill>
              </a:defRPr>
            </a:lvl1pPr>
            <a:lvl2pPr>
              <a:lnSpc>
                <a:spcPts val="1996"/>
              </a:lnSpc>
              <a:spcAft>
                <a:spcPts val="635"/>
              </a:spcAft>
              <a:defRPr sz="1633" b="0"/>
            </a:lvl2pPr>
            <a:lvl3pPr>
              <a:lnSpc>
                <a:spcPts val="1996"/>
              </a:lnSpc>
              <a:spcAft>
                <a:spcPts val="635"/>
              </a:spcAft>
              <a:defRPr sz="1633" b="0"/>
            </a:lvl3pPr>
            <a:lvl4pPr marL="457229" indent="-228614">
              <a:lnSpc>
                <a:spcPts val="1996"/>
              </a:lnSpc>
              <a:defRPr sz="1633"/>
            </a:lvl4pPr>
            <a:lvl5pPr marL="685843" indent="-228614">
              <a:defRPr/>
            </a:lvl5pPr>
          </a:lstStyle>
          <a:p>
            <a:pPr lvl="0"/>
            <a:r>
              <a:rPr lang="de-CH"/>
              <a:t>Textmasterformat bearbeiten</a:t>
            </a:r>
          </a:p>
          <a:p>
            <a:pPr lvl="3"/>
            <a:r>
              <a:rPr lang="de-CH"/>
              <a:t>Zweite Ebene</a:t>
            </a:r>
          </a:p>
          <a:p>
            <a:pPr lvl="4"/>
            <a:r>
              <a:rPr lang="de-CH"/>
              <a:t>Dritte Eben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727F62-CF53-4BE4-AABD-EFADF220AE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0800000" flipH="1" flipV="1">
            <a:off x="392216" y="6505583"/>
            <a:ext cx="215850" cy="152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ts val="998"/>
              </a:lnSpc>
            </a:pPr>
            <a:fld id="{B9B5C9EE-BE58-4F27-A9D3-821BD65823DD}" type="slidenum">
              <a:rPr lang="de-CH" sz="816" kern="120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algn="l">
                <a:lnSpc>
                  <a:spcPts val="998"/>
                </a:lnSpc>
              </a:pPr>
              <a:t>‹#›</a:t>
            </a:fld>
            <a:endParaRPr lang="de-CH" sz="816" kern="120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7480E3-0134-409D-80D8-1B463D136CA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4750" y="6420022"/>
            <a:ext cx="980541" cy="24011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659F1DD-B29C-63E2-49B9-85AF28F08EB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735112" y="6505583"/>
            <a:ext cx="9122598" cy="3265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261268" rtlCol="0" anchor="t" anchorCtr="0">
            <a:spAutoFit/>
          </a:bodyPr>
          <a:lstStyle/>
          <a:p>
            <a:pPr algn="l">
              <a:lnSpc>
                <a:spcPts val="998"/>
              </a:lnSpc>
            </a:pPr>
            <a:endParaRPr lang="de-CH" sz="816" b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068524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2" orient="horz" pos="4158">
          <p15:clr>
            <a:srgbClr val="FBAE40"/>
          </p15:clr>
        </p15:guide>
        <p15:guide id="3" orient="horz" pos="243">
          <p15:clr>
            <a:srgbClr val="FBAE40"/>
          </p15:clr>
        </p15:guide>
        <p15:guide id="4" orient="horz" pos="455">
          <p15:clr>
            <a:srgbClr val="FBAE40"/>
          </p15:clr>
        </p15:guide>
        <p15:guide id="5" orient="horz" pos="820">
          <p15:clr>
            <a:srgbClr val="FBAE40"/>
          </p15:clr>
        </p15:guide>
        <p15:guide id="6" orient="horz" pos="3908">
          <p15:clr>
            <a:srgbClr val="FBAE40"/>
          </p15:clr>
        </p15:guide>
        <p15:guide id="7" pos="7432">
          <p15:clr>
            <a:srgbClr val="FBAE40"/>
          </p15:clr>
        </p15:guide>
        <p15:guide id="8" pos="247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7F160ED-E4DF-71B7-5C7B-1DA24D91F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57525-4D0D-4BFD-AA92-D23AB922E51F}" type="datetimeFigureOut">
              <a:rPr lang="en-GB" smtClean="0"/>
              <a:t>28/05/2025</a:t>
            </a:fld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24D9142-78CE-E546-0980-29E9DB58F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91272CC-0AA3-21F5-2EBE-605EFE86F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E6000F-4CA3-40BE-8E49-6200E048A6B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79780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021334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330068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24418" y="620688"/>
            <a:ext cx="7694645" cy="288032"/>
          </a:xfrm>
        </p:spPr>
        <p:txBody>
          <a:bodyPr anchor="ctr">
            <a:noAutofit/>
          </a:bodyPr>
          <a:lstStyle>
            <a:lvl1pPr marL="0" indent="0" algn="l">
              <a:buNone/>
              <a:defRPr sz="1600" cap="small" baseline="0">
                <a:solidFill>
                  <a:srgbClr val="2F3A46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624418" y="3076"/>
            <a:ext cx="7694645" cy="617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200">
                <a:solidFill>
                  <a:srgbClr val="2F3A46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10731349" y="5774480"/>
            <a:ext cx="1460651" cy="1083520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437555" y="6237312"/>
            <a:ext cx="585655" cy="439240"/>
            <a:chOff x="186858" y="6096003"/>
            <a:chExt cx="580550" cy="580549"/>
          </a:xfrm>
          <a:solidFill>
            <a:schemeClr val="bg1">
              <a:lumMod val="95000"/>
            </a:schemeClr>
          </a:solidFill>
        </p:grpSpPr>
        <p:sp>
          <p:nvSpPr>
            <p:cNvPr id="11" name="Rectangle 10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>
                <a:latin typeface="GeosansLight" panose="02000603020000020003"/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/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7555" y="6237313"/>
            <a:ext cx="585655" cy="390437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40417" y="100098"/>
            <a:ext cx="2170364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68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65">
          <p15:clr>
            <a:srgbClr val="FBAE40"/>
          </p15:clr>
        </p15:guide>
        <p15:guide id="3" pos="2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545939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502492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91433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4810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205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056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636943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036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>
            <a:extLst>
              <a:ext uri="{FF2B5EF4-FFF2-40B4-BE49-F238E27FC236}">
                <a16:creationId xmlns:a16="http://schemas.microsoft.com/office/drawing/2014/main" id="{909A6C70-AEE2-4209-B32F-485DE1E4E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B3677969-4994-472E-9C37-1D009FED45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9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F262D997-C2EB-4727-BCED-56D9698BCB32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995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336269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69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E65FA10B-A4BF-3BEB-9F76-C53AC81379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3050" y="1216025"/>
            <a:ext cx="11726863" cy="4900613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Courier New" panose="02070309020205020404" pitchFamily="49" charset="0"/>
              <a:buChar char="o"/>
              <a:defRPr/>
            </a:lvl2pPr>
            <a:lvl3pPr marL="1200150" indent="-28575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116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336269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69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E65FA10B-A4BF-3BEB-9F76-C53AC81379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3050" y="1216025"/>
            <a:ext cx="11726863" cy="4900613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Courier New" panose="02070309020205020404" pitchFamily="49" charset="0"/>
              <a:buChar char="o"/>
              <a:defRPr/>
            </a:lvl2pPr>
            <a:lvl3pPr marL="1200150" indent="-28575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26" name="Picture 2" descr="DSO Entity – Pillar of Europe's Energy Transition">
            <a:extLst>
              <a:ext uri="{FF2B5EF4-FFF2-40B4-BE49-F238E27FC236}">
                <a16:creationId xmlns:a16="http://schemas.microsoft.com/office/drawing/2014/main" id="{17B0D6F2-FEB2-9994-B579-01792012D5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75" y="6355913"/>
            <a:ext cx="620894" cy="331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7498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 mit Logo - Gestaltung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94ACA3-90B0-E445-82B9-C1A892BAB4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#›</a:t>
            </a:fld>
            <a:endParaRPr lang="en-AT" sz="1200"/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0B630900-F38A-9948-B75C-907149B53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0144" y="6568559"/>
            <a:ext cx="5432755" cy="284967"/>
          </a:xfrm>
          <a:prstGeom prst="rect">
            <a:avLst/>
          </a:prstGeom>
        </p:spPr>
        <p:txBody>
          <a:bodyPr vert="horz" lIns="0" tIns="0" rIns="0" bIns="45720" rtlCol="0" anchor="t" anchorCtr="0"/>
          <a:lstStyle>
            <a:lvl1pPr algn="ctr">
              <a:defRPr lang="de-AT" sz="1200" b="0" i="0" u="none" strike="noStrike" smtClean="0">
                <a:effectLst/>
              </a:defRPr>
            </a:lvl1pPr>
          </a:lstStyle>
          <a:p>
            <a:pPr algn="l"/>
            <a:r>
              <a:rPr lang="de-AT"/>
              <a:t>Klassifizierung: INTERN </a:t>
            </a:r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27CB305B-D856-984F-BE6A-94D9832D55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722" y="204254"/>
            <a:ext cx="9963153" cy="681924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/>
          <a:p>
            <a:r>
              <a:rPr lang="de-DE"/>
              <a:t>Thema/Titel</a:t>
            </a:r>
          </a:p>
        </p:txBody>
      </p:sp>
    </p:spTree>
    <p:extLst>
      <p:ext uri="{BB962C8B-B14F-4D97-AF65-F5344CB8AC3E}">
        <p14:creationId xmlns:p14="http://schemas.microsoft.com/office/powerpoint/2010/main" val="19348070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lie leer mit Logo - Gestaltung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94ACA3-90B0-E445-82B9-C1A892BAB4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#›</a:t>
            </a:fld>
            <a:endParaRPr lang="en-AT" sz="1200"/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0B630900-F38A-9948-B75C-907149B53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0144" y="6568559"/>
            <a:ext cx="5432755" cy="284967"/>
          </a:xfrm>
          <a:prstGeom prst="rect">
            <a:avLst/>
          </a:prstGeom>
        </p:spPr>
        <p:txBody>
          <a:bodyPr vert="horz" lIns="0" tIns="0" rIns="0" bIns="45720" rtlCol="0" anchor="t" anchorCtr="0"/>
          <a:lstStyle>
            <a:lvl1pPr algn="ctr">
              <a:defRPr lang="de-AT" sz="1200" b="0" i="0" u="none" strike="noStrike" smtClean="0">
                <a:effectLst/>
              </a:defRPr>
            </a:lvl1pPr>
          </a:lstStyle>
          <a:p>
            <a:pPr algn="l"/>
            <a:r>
              <a:rPr lang="de-AT"/>
              <a:t>Klassifizierung: INTERN </a:t>
            </a:r>
          </a:p>
        </p:txBody>
      </p:sp>
      <p:pic>
        <p:nvPicPr>
          <p:cNvPr id="2" name="Picture 2" descr="DSO Entity – Pillar of Europe's Energy Transition">
            <a:extLst>
              <a:ext uri="{FF2B5EF4-FFF2-40B4-BE49-F238E27FC236}">
                <a16:creationId xmlns:a16="http://schemas.microsoft.com/office/drawing/2014/main" id="{910197D6-1A86-1F5B-65E6-C3793AE8A2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75" y="6355913"/>
            <a:ext cx="620894" cy="331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8118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916323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pic>
        <p:nvPicPr>
          <p:cNvPr id="2" name="Picture 2" descr="DSO Entity – Pillar of Europe's Energy Transition">
            <a:extLst>
              <a:ext uri="{FF2B5EF4-FFF2-40B4-BE49-F238E27FC236}">
                <a16:creationId xmlns:a16="http://schemas.microsoft.com/office/drawing/2014/main" id="{CE45BCAB-2BA4-23B7-2ADE-FA0008FCEB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75" y="6355913"/>
            <a:ext cx="620894" cy="331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9319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439C8AB-A397-3F8D-7426-ADB93F826C5B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638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EE83A5A-3D04-B9FC-4FCB-7ABB1FE24F79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406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435533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27DDCD7-F246-E914-89D3-80D040D6142F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38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9FBFAC5-EB27-CE0B-E074-5F476E5A7453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800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/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A2F6F022-C5D1-A89E-718F-9FE8B3DE11A5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010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/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A6DFBFB0-8BC1-DF1C-83FE-E0C68BDA8FF7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72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/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2838F10-29D4-6AD9-29CA-E65C7FE7BBCD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708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/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5AF71835-C15C-7606-0A98-11E29F1F26A7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52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A2F6F022-C5D1-A89E-718F-9FE8B3DE11A5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24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A6DFBFB0-8BC1-DF1C-83FE-E0C68BDA8FF7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72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2838F10-29D4-6AD9-29CA-E65C7FE7BBCD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51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5AF71835-C15C-7606-0A98-11E29F1F26A7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359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pic>
        <p:nvPicPr>
          <p:cNvPr id="2" name="Picture 2" descr="DSO Entity – Pillar of Europe's Energy Transition">
            <a:extLst>
              <a:ext uri="{FF2B5EF4-FFF2-40B4-BE49-F238E27FC236}">
                <a16:creationId xmlns:a16="http://schemas.microsoft.com/office/drawing/2014/main" id="{1907DCDE-1A1E-312F-1EBA-B034014E15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75" y="6355913"/>
            <a:ext cx="620894" cy="331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8862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4379944-EDDC-65D1-4689-B3630139DAEE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197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/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1B46C4B6-DD4F-DB43-6870-EE5A9E292A98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049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4DBC328-BE55-AD7F-F699-227161C1D67D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107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A27FE38-B153-21B4-E328-7C0218D5BE9A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560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1B46C4B6-DD4F-DB43-6870-EE5A9E292A98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507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861F9F2-76C8-4F48-8268-83B650B0BBDB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301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4" name="Rechteck 1">
            <a:extLst>
              <a:ext uri="{FF2B5EF4-FFF2-40B4-BE49-F238E27FC236}">
                <a16:creationId xmlns:a16="http://schemas.microsoft.com/office/drawing/2014/main" id="{37B7AC98-71D1-9CC2-2E9B-3A5B2918F58D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892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805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25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05C4D4-969B-A147-AE42-16BBC510D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rgbClr val="17253F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3F439F3-673D-F749-A2FE-90AB812EA3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76800" y="6324600"/>
            <a:ext cx="5715000" cy="3651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526F79-CFDA-9942-8274-59F93BE0C90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787180" y="6324600"/>
            <a:ext cx="1292596" cy="365125"/>
          </a:xfrm>
        </p:spPr>
        <p:txBody>
          <a:bodyPr/>
          <a:lstStyle/>
          <a:p>
            <a:fld id="{DB6FFB52-887D-654E-828B-634B8C4B052F}" type="datetimeFigureOut">
              <a:rPr lang="de-DE"/>
              <a:pPr/>
              <a:t>28.05.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1D7E47-3499-8A45-A77F-56023145F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72800" y="6324600"/>
            <a:ext cx="762000" cy="365125"/>
          </a:xfrm>
        </p:spPr>
        <p:txBody>
          <a:bodyPr/>
          <a:lstStyle/>
          <a:p>
            <a:fld id="{C7CDB754-25BF-9446-8634-13DEF6A1B38D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F50516-897E-1640-BF42-40C5F90C1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360314"/>
            <a:ext cx="11277600" cy="4648374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17253F"/>
                </a:solidFill>
              </a:defRPr>
            </a:lvl1pPr>
            <a:lvl2pPr>
              <a:defRPr>
                <a:solidFill>
                  <a:srgbClr val="17253F"/>
                </a:solidFill>
              </a:defRPr>
            </a:lvl2pPr>
            <a:lvl3pPr>
              <a:defRPr>
                <a:solidFill>
                  <a:srgbClr val="17253F"/>
                </a:solidFill>
              </a:defRPr>
            </a:lvl3pPr>
            <a:lvl4pPr>
              <a:defRPr>
                <a:solidFill>
                  <a:srgbClr val="17253F"/>
                </a:solidFill>
              </a:defRPr>
            </a:lvl4pPr>
            <a:lvl5pPr>
              <a:defRPr>
                <a:solidFill>
                  <a:srgbClr val="17253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24388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73812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107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>
            <a:extLst>
              <a:ext uri="{FF2B5EF4-FFF2-40B4-BE49-F238E27FC236}">
                <a16:creationId xmlns:a16="http://schemas.microsoft.com/office/drawing/2014/main" id="{3E034738-6F7B-4339-B423-D95572241020}"/>
              </a:ext>
            </a:extLst>
          </p:cNvPr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75" y="460747"/>
            <a:ext cx="6095825" cy="571941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6EC94A37-16A0-1999-7084-11A6C9495D33}"/>
              </a:ext>
            </a:extLst>
          </p:cNvPr>
          <p:cNvSpPr/>
          <p:nvPr userDrawn="1"/>
        </p:nvSpPr>
        <p:spPr>
          <a:xfrm>
            <a:off x="6096000" y="460747"/>
            <a:ext cx="6096000" cy="5719411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54074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>
            <a:extLst>
              <a:ext uri="{FF2B5EF4-FFF2-40B4-BE49-F238E27FC236}">
                <a16:creationId xmlns:a16="http://schemas.microsoft.com/office/drawing/2014/main" id="{76839131-A3A0-ECC0-C689-894669A4104F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433136"/>
            <a:ext cx="12192000" cy="590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4300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1651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1928753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792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689381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161347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206154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688617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722969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/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79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60886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/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09023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867616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4754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105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958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0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890AD9-2D9F-D01B-D821-CEFC52B18B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D242627-9C65-5B9F-B9E2-64AA134AF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E7DBD3E-037F-F009-9F70-266ADBAC0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0AB16F-36A4-4304-82CD-CE0C10798BC2}" type="datetimeFigureOut">
              <a:rPr lang="it-IT" smtClean="0"/>
              <a:t>28/05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9F2A5B7-5A36-EB8F-9210-B2A490E58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842E68F-9F16-D4E5-1FF2-FD3A54409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E3FFA-7470-4F2B-8482-6A30193618C8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11038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one column Headlin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idx="15" hasCustomPrompt="1"/>
          </p:nvPr>
        </p:nvSpPr>
        <p:spPr>
          <a:xfrm>
            <a:off x="335360" y="1124744"/>
            <a:ext cx="11616265" cy="4688016"/>
          </a:xfrm>
          <a:prstGeom prst="rect">
            <a:avLst/>
          </a:prstGeom>
        </p:spPr>
        <p:txBody>
          <a:bodyPr numCol="2"/>
          <a:lstStyle>
            <a:lvl1pPr>
              <a:defRPr sz="1800"/>
            </a:lvl1pPr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endParaRPr lang="de-DE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F8BEE106-38CF-4944-B582-98D2F4AD7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376" y="113852"/>
            <a:ext cx="11281639" cy="82548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+mn-lt"/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10" name="Rechteck 1">
            <a:extLst>
              <a:ext uri="{FF2B5EF4-FFF2-40B4-BE49-F238E27FC236}">
                <a16:creationId xmlns:a16="http://schemas.microsoft.com/office/drawing/2014/main" id="{040FD138-CF62-4F13-A9E4-103F22FA80F3}"/>
              </a:ext>
            </a:extLst>
          </p:cNvPr>
          <p:cNvSpPr/>
          <p:nvPr userDrawn="1"/>
        </p:nvSpPr>
        <p:spPr>
          <a:xfrm flipH="1">
            <a:off x="335360" y="166597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72CBB3-D713-4132-AB24-524F77243AC4}"/>
              </a:ext>
            </a:extLst>
          </p:cNvPr>
          <p:cNvSpPr txBox="1"/>
          <p:nvPr userDrawn="1"/>
        </p:nvSpPr>
        <p:spPr>
          <a:xfrm>
            <a:off x="11546958" y="6145619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AFBA108D-10FA-4DB0-890A-C2495D702B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565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049">
          <p15:clr>
            <a:srgbClr val="A4A3A4"/>
          </p15:clr>
        </p15:guide>
        <p15:guide id="7" pos="181">
          <p15:clr>
            <a:srgbClr val="A4A3A4"/>
          </p15:clr>
        </p15:guide>
        <p15:guide id="8" orient="horz" pos="1548">
          <p15:clr>
            <a:srgbClr val="A4A3A4"/>
          </p15:clr>
        </p15:guide>
        <p15:guide id="9" orient="horz" pos="1480">
          <p15:clr>
            <a:srgbClr val="A4A3A4"/>
          </p15:clr>
        </p15:guide>
        <p15:guide id="10" pos="7499">
          <p15:clr>
            <a:srgbClr val="A4A3A4"/>
          </p15:clr>
        </p15:guide>
        <p15:guide id="11" pos="3931">
          <p15:clr>
            <a:srgbClr val="A4A3A4"/>
          </p15:clr>
        </p15:guide>
        <p15:guide id="12" pos="374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243318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twe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79376" y="999693"/>
            <a:ext cx="11616268" cy="672331"/>
          </a:xfrm>
        </p:spPr>
        <p:txBody>
          <a:bodyPr>
            <a:normAutofit/>
          </a:bodyPr>
          <a:lstStyle>
            <a:lvl1pPr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3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5360" y="1844824"/>
            <a:ext cx="11616268" cy="4032448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6A186F0E-67D9-4BD5-813D-3B85BD1B3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376" y="113852"/>
            <a:ext cx="11281639" cy="82548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+mn-lt"/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Rechteck 1">
            <a:extLst>
              <a:ext uri="{FF2B5EF4-FFF2-40B4-BE49-F238E27FC236}">
                <a16:creationId xmlns:a16="http://schemas.microsoft.com/office/drawing/2014/main" id="{9DDE5074-63E9-436C-8E1D-68EFBF340173}"/>
              </a:ext>
            </a:extLst>
          </p:cNvPr>
          <p:cNvSpPr/>
          <p:nvPr userDrawn="1"/>
        </p:nvSpPr>
        <p:spPr>
          <a:xfrm flipH="1">
            <a:off x="335360" y="166597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CC6B67-E797-4CD7-81A3-32DFFFE7F935}"/>
              </a:ext>
            </a:extLst>
          </p:cNvPr>
          <p:cNvSpPr txBox="1"/>
          <p:nvPr userDrawn="1"/>
        </p:nvSpPr>
        <p:spPr>
          <a:xfrm>
            <a:off x="11546958" y="6145619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AFBA108D-10FA-4DB0-890A-C2495D702B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315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 with logo and page n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6D71C-ACD7-49D2-9689-F9C4024FAC38}" type="slidenum">
              <a:rPr lang="en-IE" smtClean="0"/>
              <a:pPr/>
              <a:t>‹#›</a:t>
            </a:fld>
            <a:endParaRPr lang="en-I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456139"/>
            <a:ext cx="11160125" cy="70802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7028499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941390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975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896390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284211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907074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761365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6675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01191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655656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74379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656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1222200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109517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4233073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97066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2272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932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815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907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3859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5185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>
            <a:extLst>
              <a:ext uri="{FF2B5EF4-FFF2-40B4-BE49-F238E27FC236}">
                <a16:creationId xmlns:a16="http://schemas.microsoft.com/office/drawing/2014/main" id="{76839131-A3A0-ECC0-C689-894669A4104F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433136"/>
            <a:ext cx="12192000" cy="590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17941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8336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>
            <a:extLst>
              <a:ext uri="{FF2B5EF4-FFF2-40B4-BE49-F238E27FC236}">
                <a16:creationId xmlns:a16="http://schemas.microsoft.com/office/drawing/2014/main" id="{76839131-A3A0-ECC0-C689-894669A4104F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433136"/>
            <a:ext cx="12192000" cy="590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8414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>
            <a:extLst>
              <a:ext uri="{FF2B5EF4-FFF2-40B4-BE49-F238E27FC236}">
                <a16:creationId xmlns:a16="http://schemas.microsoft.com/office/drawing/2014/main" id="{3E034738-6F7B-4339-B423-D95572241020}"/>
              </a:ext>
            </a:extLst>
          </p:cNvPr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75" y="460747"/>
            <a:ext cx="6095825" cy="571941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6EC94A37-16A0-1999-7084-11A6C9495D33}"/>
              </a:ext>
            </a:extLst>
          </p:cNvPr>
          <p:cNvSpPr/>
          <p:nvPr userDrawn="1"/>
        </p:nvSpPr>
        <p:spPr>
          <a:xfrm>
            <a:off x="6096000" y="460747"/>
            <a:ext cx="6096000" cy="5719411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61614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962527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2">
            <a:extLst>
              <a:ext uri="{FF2B5EF4-FFF2-40B4-BE49-F238E27FC236}">
                <a16:creationId xmlns:a16="http://schemas.microsoft.com/office/drawing/2014/main" id="{FEFA9F43-24A1-3D68-7317-8CC9E5AC499C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818720"/>
            <a:ext cx="12073179" cy="3915653"/>
          </a:xfrm>
          <a:prstGeom prst="rect">
            <a:avLst/>
          </a:prstGeom>
        </p:spPr>
      </p:pic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0" i="0" kern="1200" dirty="0">
                <a:gradFill>
                  <a:gsLst>
                    <a:gs pos="0">
                      <a:srgbClr val="0F218B"/>
                    </a:gs>
                    <a:gs pos="99000">
                      <a:schemeClr val="accent2"/>
                    </a:gs>
                  </a:gsLst>
                  <a:lin ang="0" scaled="0"/>
                </a:gra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079427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 i="0">
                <a:solidFill>
                  <a:srgbClr val="0D218B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 i="0">
                <a:solidFill>
                  <a:srgbClr val="0D218B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 i="0">
                <a:solidFill>
                  <a:srgbClr val="0D218B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770137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b="0" i="0">
                <a:gradFill>
                  <a:gsLst>
                    <a:gs pos="0">
                      <a:srgbClr val="0F218B"/>
                    </a:gs>
                    <a:gs pos="99000">
                      <a:schemeClr val="accent2"/>
                    </a:gs>
                  </a:gsLst>
                  <a:lin ang="0" scaled="0"/>
                </a:gradFill>
                <a:latin typeface="Roboto Slab Medium" pitchFamily="2" charset="0"/>
                <a:ea typeface="Roboto Slab Medium" pitchFamily="2" charset="0"/>
              </a:rPr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deliver to the highest </a:t>
            </a:r>
            <a:r>
              <a:rPr lang="en-IE" sz="1200" b="0" i="0" err="1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standardss</a:t>
            </a:r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4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EXCELLENCE</a:t>
            </a:r>
            <a:endParaRPr lang="en-IE" sz="90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6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TRUST</a:t>
            </a:r>
            <a:endParaRPr lang="en-IE" sz="105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</a:br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6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INTEGRITY</a:t>
            </a:r>
            <a:endParaRPr lang="en-IE" sz="100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care about people. We work transversal and we support each other. </a:t>
            </a:r>
            <a:b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</a:br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6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TEAM</a:t>
            </a:r>
            <a:endParaRPr lang="en-IE" sz="100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5400000" scaled="0"/>
          </a:gra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</a:br>
            <a:r>
              <a:rPr lang="en-IE" sz="1200" b="0" i="0">
                <a:solidFill>
                  <a:schemeClr val="bg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465815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600" b="0" i="0">
                <a:solidFill>
                  <a:schemeClr val="bg1"/>
                </a:solidFill>
                <a:effectLst/>
                <a:latin typeface="Roboto Slab Medium" pitchFamily="2" charset="0"/>
                <a:ea typeface="Roboto Slab Medium" pitchFamily="2" charset="0"/>
                <a:cs typeface="Calibri" panose="020F0502020204030204" pitchFamily="34" charset="0"/>
              </a:rPr>
              <a:t>FUTURE THINKING</a:t>
            </a:r>
            <a:endParaRPr lang="en-IE" sz="1000" b="0" i="0">
              <a:solidFill>
                <a:schemeClr val="bg1"/>
              </a:solidFill>
              <a:effectLst/>
              <a:latin typeface="Roboto Slab Medium" pitchFamily="2" charset="0"/>
              <a:ea typeface="Roboto Slab Medium" pitchFamily="2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4749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550671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1261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0921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slideLayout" Target="../slideLayouts/slideLayout132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32" Type="http://schemas.openxmlformats.org/officeDocument/2006/relationships/theme" Target="../theme/theme10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slideLayout" Target="../slideLayouts/slideLayout135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slideLayout" Target="../slideLayouts/slideLayout134.xml"/><Relationship Id="rId30" Type="http://schemas.openxmlformats.org/officeDocument/2006/relationships/slideLayout" Target="../slideLayouts/slideLayout137.xml"/><Relationship Id="rId35" Type="http://schemas.openxmlformats.org/officeDocument/2006/relationships/image" Target="../media/image15.emf"/><Relationship Id="rId8" Type="http://schemas.openxmlformats.org/officeDocument/2006/relationships/slideLayout" Target="../slideLayouts/slideLayout1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4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5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13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1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103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80000" y="970654"/>
            <a:ext cx="10154344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hange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6380" y="5805264"/>
            <a:ext cx="2408534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1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8" name="Grafik 2">
            <a:extLst>
              <a:ext uri="{FF2B5EF4-FFF2-40B4-BE49-F238E27FC236}">
                <a16:creationId xmlns:a16="http://schemas.microsoft.com/office/drawing/2014/main" id="{2B3803D2-BD86-4ABB-8BDF-1BC5164EA2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1" t="12201" r="672" b="34184"/>
          <a:stretch/>
        </p:blipFill>
        <p:spPr>
          <a:xfrm>
            <a:off x="479998" y="1944000"/>
            <a:ext cx="11712001" cy="3600000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5EE25BDE-0D4E-050D-ED0A-3DC1B1EEEA3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2214276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F218B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483663-A37B-4642-709F-C24739A017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95" imgH="394" progId="TCLayout.ActiveDocument.1">
                  <p:embed/>
                </p:oleObj>
              </mc:Choice>
              <mc:Fallback>
                <p:oleObj name="think-cell Slide" r:id="rId3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483663-A37B-4642-709F-C24739A01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5C555F82-D675-C7DB-6BFD-E472FB298C2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3871067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2" r:id="rId25"/>
    <p:sldLayoutId id="2147483853" r:id="rId26"/>
    <p:sldLayoutId id="2147483854" r:id="rId27"/>
    <p:sldLayoutId id="2147483855" r:id="rId28"/>
    <p:sldLayoutId id="2147483867" r:id="rId29"/>
    <p:sldLayoutId id="2147483868" r:id="rId30"/>
    <p:sldLayoutId id="2147483881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079A4127-E31C-4487-AD5A-348D940BE49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4254113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23" r:id="rId20"/>
    <p:sldLayoutId id="2147483724" r:id="rId21"/>
    <p:sldLayoutId id="2147483760" r:id="rId22"/>
    <p:sldLayoutId id="2147483761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DA39C795-B25C-7698-747B-068B8D1F05A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1005237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801" r:id="rId7"/>
    <p:sldLayoutId id="2147483802" r:id="rId8"/>
    <p:sldLayoutId id="2147483803" r:id="rId9"/>
    <p:sldLayoutId id="2147483804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808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4178" r:id="rId24"/>
    <p:sldLayoutId id="2147484179" r:id="rId25"/>
    <p:sldLayoutId id="2147484180" r:id="rId26"/>
    <p:sldLayoutId id="2147484181" r:id="rId27"/>
    <p:sldLayoutId id="2147484182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08DB74F5-B649-5225-BFF1-3806413D321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3341126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AAE0B085-5884-6C45-5BCE-11B38050280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4013207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9" r:id="rId1"/>
    <p:sldLayoutId id="2147484190" r:id="rId2"/>
    <p:sldLayoutId id="2147484191" r:id="rId3"/>
    <p:sldLayoutId id="2147484192" r:id="rId4"/>
    <p:sldLayoutId id="2147484193" r:id="rId5"/>
    <p:sldLayoutId id="2147484194" r:id="rId6"/>
    <p:sldLayoutId id="2147484195" r:id="rId7"/>
    <p:sldLayoutId id="2147484196" r:id="rId8"/>
    <p:sldLayoutId id="2147484197" r:id="rId9"/>
    <p:sldLayoutId id="2147484198" r:id="rId10"/>
    <p:sldLayoutId id="2147484199" r:id="rId11"/>
    <p:sldLayoutId id="2147484200" r:id="rId12"/>
    <p:sldLayoutId id="2147484201" r:id="rId13"/>
    <p:sldLayoutId id="2147484202" r:id="rId14"/>
    <p:sldLayoutId id="2147484203" r:id="rId15"/>
    <p:sldLayoutId id="2147484204" r:id="rId16"/>
    <p:sldLayoutId id="2147484205" r:id="rId17"/>
    <p:sldLayoutId id="2147484206" r:id="rId18"/>
    <p:sldLayoutId id="2147484208" r:id="rId19"/>
    <p:sldLayoutId id="2147484209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53018" y="6447155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Roboto Slab Medium" pitchFamily="2" charset="0"/>
                <a:ea typeface="Roboto Slab Medium" pitchFamily="2" charset="0"/>
              </a:rPr>
              <a:t>ENTSO-E</a:t>
            </a:r>
            <a:r>
              <a:rPr lang="de-DE"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 | TYNDP 2024 | </a:t>
            </a:r>
            <a:fld id="{9D8EEF28-5ABD-4429-9AD9-DE956F602A14}" type="slidenum">
              <a:rPr lang="de-DE" sz="100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pPr algn="r"/>
              <a:t>‹#›</a:t>
            </a:fld>
            <a:endParaRPr lang="de-DE" sz="1000" b="0" i="0">
              <a:solidFill>
                <a:schemeClr val="tx1">
                  <a:lumMod val="50000"/>
                  <a:lumOff val="50000"/>
                </a:schemeClr>
              </a:solidFill>
              <a:latin typeface="Roboto Slab Light" pitchFamily="2" charset="0"/>
              <a:ea typeface="Roboto Slab Light" pitchFamily="2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702E8EF-1CA2-DC32-5DA0-1035405B8A88}"/>
              </a:ext>
            </a:extLst>
          </p:cNvPr>
          <p:cNvSpPr/>
          <p:nvPr userDrawn="1"/>
        </p:nvSpPr>
        <p:spPr>
          <a:xfrm>
            <a:off x="0" y="0"/>
            <a:ext cx="12192000" cy="146304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B9555FF4-8FA0-4B8F-13F6-F873ED063512}"/>
              </a:ext>
            </a:extLst>
          </p:cNvPr>
          <p:cNvSpPr txBox="1"/>
          <p:nvPr userDrawn="1"/>
        </p:nvSpPr>
        <p:spPr>
          <a:xfrm>
            <a:off x="532015" y="5542"/>
            <a:ext cx="1041862" cy="283599"/>
          </a:xfrm>
          <a:prstGeom prst="rect">
            <a:avLst/>
          </a:prstGeom>
          <a:solidFill>
            <a:srgbClr val="0D218B"/>
          </a:solidFill>
        </p:spPr>
        <p:txBody>
          <a:bodyPr vert="horz" wrap="square" lIns="0" tIns="7112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560"/>
              </a:spcBef>
            </a:pPr>
            <a:endParaRPr sz="2750">
              <a:latin typeface="Roboto Slab Light" pitchFamily="2" charset="0"/>
              <a:ea typeface="Roboto Slab Light" pitchFamily="2" charset="0"/>
              <a:cs typeface="Roboto Slab Medium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48E33A0-438E-05B2-3266-D6DFC66E7FC6}"/>
              </a:ext>
            </a:extLst>
          </p:cNvPr>
          <p:cNvSpPr txBox="1"/>
          <p:nvPr userDrawn="1"/>
        </p:nvSpPr>
        <p:spPr>
          <a:xfrm>
            <a:off x="263352" y="6071"/>
            <a:ext cx="15093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5904">
              <a:lnSpc>
                <a:spcPct val="100000"/>
              </a:lnSpc>
              <a:spcBef>
                <a:spcPts val="560"/>
              </a:spcBef>
            </a:pPr>
            <a:r>
              <a:rPr lang="de-DE" sz="120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TYNDP</a:t>
            </a:r>
            <a:r>
              <a:rPr lang="de-DE" sz="1200" spc="-10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 </a:t>
            </a:r>
            <a:r>
              <a:rPr lang="de-DE" sz="1200" spc="-2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2026</a:t>
            </a:r>
            <a:endParaRPr lang="de-DE" sz="1200">
              <a:latin typeface="Roboto Slab Light" pitchFamily="2" charset="0"/>
              <a:ea typeface="Roboto Slab Light" pitchFamily="2" charset="0"/>
              <a:cs typeface="Roboto Slab Medium"/>
            </a:endParaRP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0935F882-2253-AA1A-E281-33EE9A16035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3204597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2" r:id="rId2"/>
    <p:sldLayoutId id="2147484213" r:id="rId3"/>
    <p:sldLayoutId id="2147484214" r:id="rId4"/>
    <p:sldLayoutId id="2147484215" r:id="rId5"/>
    <p:sldLayoutId id="214748421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848158C-38E9-3F6C-0987-02784FA844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4" r="21664"/>
          <a:stretch/>
        </p:blipFill>
        <p:spPr>
          <a:xfrm>
            <a:off x="6362054" y="0"/>
            <a:ext cx="5829946" cy="68580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EF487BB7-1D59-0ECA-169F-E8A5DC3809D5}"/>
              </a:ext>
            </a:extLst>
          </p:cNvPr>
          <p:cNvSpPr/>
          <p:nvPr userDrawn="1"/>
        </p:nvSpPr>
        <p:spPr>
          <a:xfrm>
            <a:off x="0" y="0"/>
            <a:ext cx="12192000" cy="146304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4A2C04FA-9436-C2FE-D165-35D5CED70F99}"/>
              </a:ext>
            </a:extLst>
          </p:cNvPr>
          <p:cNvSpPr txBox="1"/>
          <p:nvPr userDrawn="1"/>
        </p:nvSpPr>
        <p:spPr>
          <a:xfrm>
            <a:off x="486288" y="73601"/>
            <a:ext cx="1313719" cy="349084"/>
          </a:xfrm>
          <a:prstGeom prst="rect">
            <a:avLst/>
          </a:prstGeom>
          <a:solidFill>
            <a:srgbClr val="0D218B"/>
          </a:solidFill>
        </p:spPr>
        <p:txBody>
          <a:bodyPr vert="horz" wrap="square" lIns="0" tIns="7112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560"/>
              </a:spcBef>
            </a:pPr>
            <a:endParaRPr sz="2750">
              <a:latin typeface="Roboto Slab Light" pitchFamily="2" charset="0"/>
              <a:ea typeface="Roboto Slab Light" pitchFamily="2" charset="0"/>
              <a:cs typeface="Roboto Slab Medium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A58489C-A00B-C506-1A12-153A03359308}"/>
              </a:ext>
            </a:extLst>
          </p:cNvPr>
          <p:cNvSpPr txBox="1"/>
          <p:nvPr userDrawn="1"/>
        </p:nvSpPr>
        <p:spPr>
          <a:xfrm>
            <a:off x="290628" y="82237"/>
            <a:ext cx="15093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5904">
              <a:lnSpc>
                <a:spcPct val="100000"/>
              </a:lnSpc>
              <a:spcBef>
                <a:spcPts val="560"/>
              </a:spcBef>
            </a:pPr>
            <a:r>
              <a:rPr lang="de-DE" sz="140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TYNDP</a:t>
            </a:r>
            <a:r>
              <a:rPr lang="de-DE" sz="1400" spc="-10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 </a:t>
            </a:r>
            <a:r>
              <a:rPr lang="de-DE" sz="1400" spc="-2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2026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FA24050-2F36-ACA0-03CA-D0179BBBFA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" b="350"/>
          <a:stretch/>
        </p:blipFill>
        <p:spPr>
          <a:xfrm>
            <a:off x="10263991" y="6044339"/>
            <a:ext cx="1607212" cy="538264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92ADDF1F-7237-DEE8-2AB3-A0A88CA46CA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344734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F218B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848158C-38E9-3F6C-0987-02784FA844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41" r="21641"/>
          <a:stretch/>
        </p:blipFill>
        <p:spPr>
          <a:xfrm>
            <a:off x="6362054" y="0"/>
            <a:ext cx="5829946" cy="68580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EF487BB7-1D59-0ECA-169F-E8A5DC3809D5}"/>
              </a:ext>
            </a:extLst>
          </p:cNvPr>
          <p:cNvSpPr/>
          <p:nvPr userDrawn="1"/>
        </p:nvSpPr>
        <p:spPr>
          <a:xfrm>
            <a:off x="0" y="0"/>
            <a:ext cx="12192000" cy="146304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4A2C04FA-9436-C2FE-D165-35D5CED70F99}"/>
              </a:ext>
            </a:extLst>
          </p:cNvPr>
          <p:cNvSpPr txBox="1"/>
          <p:nvPr userDrawn="1"/>
        </p:nvSpPr>
        <p:spPr>
          <a:xfrm>
            <a:off x="486288" y="73601"/>
            <a:ext cx="1313719" cy="349084"/>
          </a:xfrm>
          <a:prstGeom prst="rect">
            <a:avLst/>
          </a:prstGeom>
          <a:solidFill>
            <a:srgbClr val="0D218B"/>
          </a:solidFill>
        </p:spPr>
        <p:txBody>
          <a:bodyPr vert="horz" wrap="square" lIns="0" tIns="7112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560"/>
              </a:spcBef>
            </a:pPr>
            <a:endParaRPr sz="2750">
              <a:latin typeface="Roboto Slab Light" pitchFamily="2" charset="0"/>
              <a:ea typeface="Roboto Slab Light" pitchFamily="2" charset="0"/>
              <a:cs typeface="Roboto Slab Medium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A58489C-A00B-C506-1A12-153A03359308}"/>
              </a:ext>
            </a:extLst>
          </p:cNvPr>
          <p:cNvSpPr txBox="1"/>
          <p:nvPr userDrawn="1"/>
        </p:nvSpPr>
        <p:spPr>
          <a:xfrm>
            <a:off x="290628" y="82237"/>
            <a:ext cx="15093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5904">
              <a:lnSpc>
                <a:spcPct val="100000"/>
              </a:lnSpc>
              <a:spcBef>
                <a:spcPts val="560"/>
              </a:spcBef>
            </a:pPr>
            <a:r>
              <a:rPr lang="de-DE" sz="140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TYNDP</a:t>
            </a:r>
            <a:r>
              <a:rPr lang="de-DE" sz="1400" spc="-10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 </a:t>
            </a:r>
            <a:r>
              <a:rPr lang="de-DE" sz="1400" spc="-2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2024</a:t>
            </a:r>
            <a:endParaRPr lang="de-DE" sz="1400">
              <a:latin typeface="Roboto Slab Light" pitchFamily="2" charset="0"/>
              <a:ea typeface="Roboto Slab Light" pitchFamily="2" charset="0"/>
              <a:cs typeface="Roboto Slab Medium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9FB4B0D-9BD4-2D4C-40D3-971130C0B71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" b="350"/>
          <a:stretch/>
        </p:blipFill>
        <p:spPr>
          <a:xfrm>
            <a:off x="10263991" y="6044339"/>
            <a:ext cx="1607212" cy="538264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FD6B65B6-EB3A-4FF7-A390-512DFCEA070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3548799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F218B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53018" y="6447155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Roboto Slab Medium" pitchFamily="2" charset="0"/>
                <a:ea typeface="Roboto Slab Medium" pitchFamily="2" charset="0"/>
              </a:rPr>
              <a:t>ENTSO-E</a:t>
            </a:r>
            <a:r>
              <a:rPr lang="de-DE"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 | TYNDP 2024 | </a:t>
            </a:r>
            <a:fld id="{9D8EEF28-5ABD-4429-9AD9-DE956F602A14}" type="slidenum">
              <a:rPr lang="de-DE" sz="100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pPr algn="r"/>
              <a:t>‹#›</a:t>
            </a:fld>
            <a:endParaRPr lang="de-DE" sz="1000" b="0" i="0">
              <a:solidFill>
                <a:schemeClr val="tx1">
                  <a:lumMod val="50000"/>
                  <a:lumOff val="50000"/>
                </a:schemeClr>
              </a:solidFill>
              <a:latin typeface="Roboto Slab Light" pitchFamily="2" charset="0"/>
              <a:ea typeface="Roboto Slab Light" pitchFamily="2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702E8EF-1CA2-DC32-5DA0-1035405B8A88}"/>
              </a:ext>
            </a:extLst>
          </p:cNvPr>
          <p:cNvSpPr/>
          <p:nvPr userDrawn="1"/>
        </p:nvSpPr>
        <p:spPr>
          <a:xfrm>
            <a:off x="0" y="0"/>
            <a:ext cx="12192000" cy="146304"/>
          </a:xfrm>
          <a:prstGeom prst="rect">
            <a:avLst/>
          </a:prstGeom>
          <a:gradFill>
            <a:gsLst>
              <a:gs pos="0">
                <a:srgbClr val="0F218B"/>
              </a:gs>
              <a:gs pos="99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B9555FF4-8FA0-4B8F-13F6-F873ED063512}"/>
              </a:ext>
            </a:extLst>
          </p:cNvPr>
          <p:cNvSpPr txBox="1"/>
          <p:nvPr userDrawn="1"/>
        </p:nvSpPr>
        <p:spPr>
          <a:xfrm>
            <a:off x="532015" y="5542"/>
            <a:ext cx="1041862" cy="283599"/>
          </a:xfrm>
          <a:prstGeom prst="rect">
            <a:avLst/>
          </a:prstGeom>
          <a:solidFill>
            <a:srgbClr val="0D218B"/>
          </a:solidFill>
        </p:spPr>
        <p:txBody>
          <a:bodyPr vert="horz" wrap="square" lIns="0" tIns="7112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560"/>
              </a:spcBef>
            </a:pPr>
            <a:endParaRPr sz="2750">
              <a:latin typeface="Roboto Slab Light" pitchFamily="2" charset="0"/>
              <a:ea typeface="Roboto Slab Light" pitchFamily="2" charset="0"/>
              <a:cs typeface="Roboto Slab Medium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48E33A0-438E-05B2-3266-D6DFC66E7FC6}"/>
              </a:ext>
            </a:extLst>
          </p:cNvPr>
          <p:cNvSpPr txBox="1"/>
          <p:nvPr userDrawn="1"/>
        </p:nvSpPr>
        <p:spPr>
          <a:xfrm>
            <a:off x="263352" y="6071"/>
            <a:ext cx="15093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5904">
              <a:lnSpc>
                <a:spcPct val="100000"/>
              </a:lnSpc>
              <a:spcBef>
                <a:spcPts val="560"/>
              </a:spcBef>
            </a:pPr>
            <a:r>
              <a:rPr lang="de-DE" sz="120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TYNDP</a:t>
            </a:r>
            <a:r>
              <a:rPr lang="de-DE" sz="1200" spc="-10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 </a:t>
            </a:r>
            <a:r>
              <a:rPr lang="de-DE" sz="1200" spc="-20">
                <a:solidFill>
                  <a:srgbClr val="FFFFFF"/>
                </a:solidFill>
                <a:latin typeface="Roboto Slab Light" pitchFamily="2" charset="0"/>
                <a:ea typeface="Roboto Slab Light" pitchFamily="2" charset="0"/>
                <a:cs typeface="Roboto Slab Medium"/>
              </a:rPr>
              <a:t>2024</a:t>
            </a:r>
            <a:endParaRPr lang="de-DE" sz="1200">
              <a:latin typeface="Roboto Slab Light" pitchFamily="2" charset="0"/>
              <a:ea typeface="Roboto Slab Light" pitchFamily="2" charset="0"/>
              <a:cs typeface="Roboto Slab Medium"/>
            </a:endParaRP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44828D51-60CF-BF3F-32DD-117934471C7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76060"/>
            <a:ext cx="965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3200814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5" r:id="rId1"/>
    <p:sldLayoutId id="2147484226" r:id="rId2"/>
    <p:sldLayoutId id="2147484227" r:id="rId3"/>
    <p:sldLayoutId id="2147484228" r:id="rId4"/>
    <p:sldLayoutId id="2147484229" r:id="rId5"/>
    <p:sldLayoutId id="2147484230" r:id="rId6"/>
    <p:sldLayoutId id="2147484231" r:id="rId7"/>
    <p:sldLayoutId id="2147484232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png"/><Relationship Id="rId18" Type="http://schemas.openxmlformats.org/officeDocument/2006/relationships/image" Target="../media/image37.sv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5.svg"/><Relationship Id="rId20" Type="http://schemas.openxmlformats.org/officeDocument/2006/relationships/image" Target="../media/image39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svg"/><Relationship Id="rId19" Type="http://schemas.openxmlformats.org/officeDocument/2006/relationships/image" Target="../media/image38.png"/><Relationship Id="rId4" Type="http://schemas.openxmlformats.org/officeDocument/2006/relationships/image" Target="../media/image23.svg"/><Relationship Id="rId9" Type="http://schemas.openxmlformats.org/officeDocument/2006/relationships/image" Target="../media/image28.png"/><Relationship Id="rId14" Type="http://schemas.openxmlformats.org/officeDocument/2006/relationships/image" Target="../media/image3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4" Type="http://schemas.openxmlformats.org/officeDocument/2006/relationships/image" Target="../media/image42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DAA7C3C-5ECF-71F0-525B-4F73D5996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GB">
                <a:latin typeface="Calibri"/>
                <a:ea typeface="Calibri"/>
                <a:cs typeface="Calibri"/>
              </a:rPr>
              <a:t>Grid Action Plan – Action 6: Grid Hosting Capacities</a:t>
            </a:r>
          </a:p>
        </p:txBody>
      </p:sp>
    </p:spTree>
    <p:extLst>
      <p:ext uri="{BB962C8B-B14F-4D97-AF65-F5344CB8AC3E}">
        <p14:creationId xmlns:p14="http://schemas.microsoft.com/office/powerpoint/2010/main" val="15210971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00C70BA-9C29-EB4D-8869-F66CA5A45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844" y="605438"/>
            <a:ext cx="11617788" cy="356467"/>
          </a:xfrm>
        </p:spPr>
        <p:txBody>
          <a:bodyPr lIns="91440" tIns="45720" rIns="91440" bIns="45720" anchor="ctr"/>
          <a:lstStyle/>
          <a:p>
            <a:r>
              <a:rPr lang="en-GB" b="0">
                <a:solidFill>
                  <a:schemeClr val="accent1"/>
                </a:solidFill>
                <a:latin typeface="Calibri"/>
                <a:ea typeface="Calibri"/>
                <a:cs typeface="Calibri"/>
              </a:rPr>
              <a:t>Grid Action Plan 06- Grid Hosting Capacity Definitions &amp; Pan-EU Overview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AB830F-2060-76DF-17DC-E79B79E4EA5F}"/>
              </a:ext>
            </a:extLst>
          </p:cNvPr>
          <p:cNvSpPr/>
          <p:nvPr/>
        </p:nvSpPr>
        <p:spPr>
          <a:xfrm>
            <a:off x="574195" y="1957522"/>
            <a:ext cx="2931459" cy="417899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latin typeface="Browallia New" panose="020B0502040204020203" pitchFamily="34" charset="-34"/>
              <a:cs typeface="Browallia New" panose="020B0502040204020203" pitchFamily="34" charset="-3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506A6D0-E5F9-9267-37E5-3552F13A783A}"/>
              </a:ext>
            </a:extLst>
          </p:cNvPr>
          <p:cNvSpPr/>
          <p:nvPr/>
        </p:nvSpPr>
        <p:spPr>
          <a:xfrm>
            <a:off x="574195" y="1951693"/>
            <a:ext cx="2931459" cy="5869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800">
                <a:latin typeface="Browallia New" panose="020B0502040204020203" pitchFamily="34" charset="-34"/>
                <a:cs typeface="Browallia New" panose="020B0502040204020203" pitchFamily="34" charset="-34"/>
              </a:rPr>
              <a:t>Background</a:t>
            </a:r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FE4ACDEE-D376-8E50-BEEE-CC9F3EFCE936}"/>
              </a:ext>
            </a:extLst>
          </p:cNvPr>
          <p:cNvSpPr txBox="1"/>
          <p:nvPr/>
        </p:nvSpPr>
        <p:spPr>
          <a:xfrm>
            <a:off x="614944" y="2538600"/>
            <a:ext cx="2919185" cy="3874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Font typeface="+mj-lt"/>
              <a:buAutoNum type="arabicPeriod"/>
            </a:pPr>
            <a:r>
              <a:rPr lang="de-DE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quirements from the Grid Action Plan – Action 6 on Hosting Capacities</a:t>
            </a:r>
          </a:p>
          <a:p>
            <a:pPr marL="342900" indent="-34290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llaborative efforts (Exchanges and Proposals) between ENTSO-E and EU DSO Entity</a:t>
            </a:r>
          </a:p>
          <a:p>
            <a:pPr marL="342900" indent="-34290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edback and guidance from the European Commi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latin typeface="Browallia New" panose="020B0502040204020203" pitchFamily="34" charset="-34"/>
              <a:cs typeface="Browallia New" panose="020B0502040204020203" pitchFamily="34" charset="-34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1C300694-867A-495E-6AC6-1FCCCE1E45A0}"/>
              </a:ext>
            </a:extLst>
          </p:cNvPr>
          <p:cNvSpPr/>
          <p:nvPr/>
        </p:nvSpPr>
        <p:spPr>
          <a:xfrm>
            <a:off x="3747837" y="3451359"/>
            <a:ext cx="590877" cy="6956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latin typeface="Browallia New" panose="020B0502040204020203" pitchFamily="34" charset="-34"/>
              <a:cs typeface="Browallia New" panose="020B0502040204020203" pitchFamily="34" charset="-34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1A00F6D-D14D-C13B-2EE9-FA5127AD4E69}"/>
              </a:ext>
            </a:extLst>
          </p:cNvPr>
          <p:cNvSpPr/>
          <p:nvPr/>
        </p:nvSpPr>
        <p:spPr>
          <a:xfrm>
            <a:off x="6053602" y="1380794"/>
            <a:ext cx="5257719" cy="147457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defRPr/>
            </a:pPr>
            <a:r>
              <a:rPr lang="en-US" sz="2400" b="1" dirty="0">
                <a:solidFill>
                  <a:schemeClr val="accent2"/>
                </a:solidFill>
                <a:latin typeface="Calibri"/>
                <a:ea typeface="Calibri"/>
                <a:cs typeface="Calibri"/>
              </a:rPr>
              <a:t>Supporting definitions (</a:t>
            </a:r>
            <a:r>
              <a:rPr lang="en-US" sz="2400" b="1" dirty="0" err="1">
                <a:solidFill>
                  <a:schemeClr val="accent2"/>
                </a:solidFill>
                <a:latin typeface="Calibri"/>
                <a:ea typeface="Calibri"/>
                <a:cs typeface="Calibri"/>
              </a:rPr>
              <a:t>Capacitypedia</a:t>
            </a:r>
            <a:r>
              <a:rPr lang="en-US" sz="2400" b="1" dirty="0">
                <a:solidFill>
                  <a:schemeClr val="accent2"/>
                </a:solidFill>
                <a:latin typeface="Calibri"/>
                <a:ea typeface="Calibri"/>
                <a:cs typeface="Calibri"/>
              </a:rPr>
              <a:t>)</a:t>
            </a:r>
          </a:p>
          <a:p>
            <a:pPr>
              <a:lnSpc>
                <a:spcPct val="110000"/>
              </a:lnSpc>
              <a:defRPr/>
            </a:pPr>
            <a:r>
              <a:rPr lang="en-US" sz="16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Key aspects relevant for understanding  grid hosting capacities, including granularity, </a:t>
            </a:r>
            <a:endParaRPr lang="en-US">
              <a:solidFill>
                <a:schemeClr val="tx1"/>
              </a:solidFill>
              <a:latin typeface="Trebuchet MS"/>
              <a:ea typeface="Calibri"/>
              <a:cs typeface="Calibri"/>
            </a:endParaRPr>
          </a:p>
          <a:p>
            <a:pPr>
              <a:lnSpc>
                <a:spcPct val="110000"/>
              </a:lnSpc>
              <a:defRPr/>
            </a:pPr>
            <a:r>
              <a:rPr lang="en-US" sz="16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firm and flexible connection capacity, coordination between DSOs and TSOs etc</a:t>
            </a:r>
            <a:r>
              <a:rPr lang="en-US" sz="1600" dirty="0">
                <a:solidFill>
                  <a:schemeClr val="tx1"/>
                </a:solidFill>
                <a:ea typeface="+mn-lt"/>
                <a:cs typeface="+mn-lt"/>
              </a:rPr>
              <a:t>.</a:t>
            </a:r>
            <a:endParaRPr lang="en-US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9184C2-3851-7C16-BE47-99E0FDC80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7278" y="1485541"/>
            <a:ext cx="1161856" cy="1161856"/>
          </a:xfrm>
          <a:prstGeom prst="ellipse">
            <a:avLst/>
          </a:prstGeom>
          <a:noFill/>
          <a:ln w="57150" cap="rnd">
            <a:solidFill>
              <a:schemeClr val="accent2"/>
            </a:solidFill>
            <a:prstDash val="solid"/>
            <a:miter lim="800000"/>
            <a:headEnd type="none" w="sm" len="sm"/>
            <a:tailEnd type="none"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5F54B6-FC41-9B16-7016-1EBD5ECDD5E9}"/>
              </a:ext>
            </a:extLst>
          </p:cNvPr>
          <p:cNvSpPr/>
          <p:nvPr/>
        </p:nvSpPr>
        <p:spPr>
          <a:xfrm>
            <a:off x="5881320" y="1400594"/>
            <a:ext cx="5627844" cy="144657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rowallia New" panose="020B0502040204020203" pitchFamily="34" charset="-34"/>
              <a:cs typeface="Browallia New" panose="020B0502040204020203" pitchFamily="34" charset="-3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9DCD572-98E8-2F9E-BBE0-C1B1FD737DB9}"/>
              </a:ext>
            </a:extLst>
          </p:cNvPr>
          <p:cNvSpPr/>
          <p:nvPr/>
        </p:nvSpPr>
        <p:spPr>
          <a:xfrm>
            <a:off x="6053602" y="3020875"/>
            <a:ext cx="5289033" cy="161146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10000"/>
              </a:lnSpc>
              <a:defRPr/>
            </a:pPr>
            <a:r>
              <a:rPr lang="en-US" sz="2400" b="1">
                <a:solidFill>
                  <a:schemeClr val="accent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formation portal to the grid hosting capacity information websites</a:t>
            </a:r>
            <a:br>
              <a:rPr lang="en-US" sz="2400" b="0" i="0" u="none" strike="noStrike" kern="1200" spc="0" normalizeH="0" baseline="0" noProof="0">
                <a:ln>
                  <a:noFill/>
                </a:ln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rPr>
            </a:br>
            <a:r>
              <a:rPr lang="en-US" sz="16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Serves as a single-entry point for users, enabling easy navigation of grid hosting capacities and providing access to </a:t>
            </a:r>
            <a:r>
              <a:rPr kumimoji="0" lang="en-US" sz="1600" b="0" i="0" u="none" kern="1200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websites displaying current grid hosting capacity statu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FF23103-07FC-7B3E-1116-0AAD04A01F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7278" y="3183050"/>
            <a:ext cx="1161856" cy="1161856"/>
          </a:xfrm>
          <a:prstGeom prst="ellipse">
            <a:avLst/>
          </a:prstGeom>
          <a:noFill/>
          <a:ln w="57150" cap="rnd">
            <a:solidFill>
              <a:schemeClr val="accent2"/>
            </a:solidFill>
            <a:prstDash val="solid"/>
            <a:miter lim="800000"/>
            <a:headEnd type="none" w="sm" len="sm"/>
            <a:tailEnd type="none"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rPr>
              <a:t>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EF0686-BD86-6F79-F575-543E188D4FAB}"/>
              </a:ext>
            </a:extLst>
          </p:cNvPr>
          <p:cNvSpPr/>
          <p:nvPr/>
        </p:nvSpPr>
        <p:spPr>
          <a:xfrm>
            <a:off x="5881320" y="3018062"/>
            <a:ext cx="5627844" cy="162906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rowallia New" panose="020B0502040204020203" pitchFamily="34" charset="-34"/>
              <a:cs typeface="Browallia New" panose="020B0502040204020203" pitchFamily="34" charset="-34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4701-E002-5EAD-048C-0FEE97D423E0}"/>
              </a:ext>
            </a:extLst>
          </p:cNvPr>
          <p:cNvSpPr/>
          <p:nvPr/>
        </p:nvSpPr>
        <p:spPr>
          <a:xfrm>
            <a:off x="6105794" y="4994308"/>
            <a:ext cx="5403369" cy="9343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schemeClr val="accent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aring of good practices</a:t>
            </a:r>
            <a:br>
              <a:rPr lang="en-US" sz="2400" b="0" i="0" u="none" strike="noStrike" kern="1200" spc="0" normalizeH="0" baseline="0" noProof="0">
                <a:ln>
                  <a:noFill/>
                </a:ln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rPr>
            </a:br>
            <a:r>
              <a:rPr lang="en-US" sz="1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kumimoji="0" lang="en-US" sz="1600" b="0" i="0" u="none" strike="noStrike" kern="1200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moting</a:t>
            </a:r>
            <a:r>
              <a:rPr kumimoji="0" lang="en-US" sz="1600" b="0" i="0" u="none" strike="noStrike" kern="1200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 aligned approach among different system operators considering inputs from stakeholder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9843F89-0264-F82A-192C-F6048D760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7278" y="4880560"/>
            <a:ext cx="1161856" cy="1161856"/>
          </a:xfrm>
          <a:prstGeom prst="ellipse">
            <a:avLst/>
          </a:prstGeom>
          <a:noFill/>
          <a:ln w="57150" cap="rnd">
            <a:solidFill>
              <a:schemeClr val="accent2"/>
            </a:solidFill>
            <a:prstDash val="solid"/>
            <a:miter lim="800000"/>
            <a:headEnd type="none" w="sm" len="sm"/>
            <a:tailEnd type="none"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rPr>
              <a:t>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DA2626E-7DE3-D126-6939-57077C0A0BBF}"/>
              </a:ext>
            </a:extLst>
          </p:cNvPr>
          <p:cNvSpPr/>
          <p:nvPr/>
        </p:nvSpPr>
        <p:spPr>
          <a:xfrm>
            <a:off x="5881320" y="4848448"/>
            <a:ext cx="5627844" cy="127762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rowallia New" panose="020B0502040204020203" pitchFamily="34" charset="-34"/>
              <a:cs typeface="Browallia New" panose="020B0502040204020203" pitchFamily="34" charset="-34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EE09565-8FC7-2B16-EF51-0CA8059227A0}"/>
              </a:ext>
            </a:extLst>
          </p:cNvPr>
          <p:cNvCxnSpPr>
            <a:cxnSpLocks/>
          </p:cNvCxnSpPr>
          <p:nvPr/>
        </p:nvCxnSpPr>
        <p:spPr>
          <a:xfrm>
            <a:off x="5165451" y="2647397"/>
            <a:ext cx="0" cy="535653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536D6DA-4A81-A442-963F-7176C4102913}"/>
              </a:ext>
            </a:extLst>
          </p:cNvPr>
          <p:cNvCxnSpPr>
            <a:cxnSpLocks/>
          </p:cNvCxnSpPr>
          <p:nvPr/>
        </p:nvCxnSpPr>
        <p:spPr>
          <a:xfrm>
            <a:off x="5165451" y="4344906"/>
            <a:ext cx="0" cy="535654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987F914-390E-7840-E1D1-343875CFFF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17865" y="1740064"/>
            <a:ext cx="460680" cy="613281"/>
            <a:chOff x="5561" y="2997"/>
            <a:chExt cx="320" cy="426"/>
          </a:xfrm>
          <a:solidFill>
            <a:schemeClr val="accent2"/>
          </a:solidFill>
        </p:grpSpPr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EB69080E-C324-016E-9D56-A9E1A2203C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4" y="2997"/>
              <a:ext cx="267" cy="373"/>
            </a:xfrm>
            <a:custGeom>
              <a:avLst/>
              <a:gdLst>
                <a:gd name="T0" fmla="*/ 174 w 180"/>
                <a:gd name="T1" fmla="*/ 252 h 252"/>
                <a:gd name="T2" fmla="*/ 6 w 180"/>
                <a:gd name="T3" fmla="*/ 252 h 252"/>
                <a:gd name="T4" fmla="*/ 0 w 180"/>
                <a:gd name="T5" fmla="*/ 246 h 252"/>
                <a:gd name="T6" fmla="*/ 0 w 180"/>
                <a:gd name="T7" fmla="*/ 6 h 252"/>
                <a:gd name="T8" fmla="*/ 6 w 180"/>
                <a:gd name="T9" fmla="*/ 0 h 252"/>
                <a:gd name="T10" fmla="*/ 102 w 180"/>
                <a:gd name="T11" fmla="*/ 0 h 252"/>
                <a:gd name="T12" fmla="*/ 106 w 180"/>
                <a:gd name="T13" fmla="*/ 1 h 252"/>
                <a:gd name="T14" fmla="*/ 178 w 180"/>
                <a:gd name="T15" fmla="*/ 73 h 252"/>
                <a:gd name="T16" fmla="*/ 180 w 180"/>
                <a:gd name="T17" fmla="*/ 78 h 252"/>
                <a:gd name="T18" fmla="*/ 180 w 180"/>
                <a:gd name="T19" fmla="*/ 246 h 252"/>
                <a:gd name="T20" fmla="*/ 174 w 180"/>
                <a:gd name="T21" fmla="*/ 252 h 252"/>
                <a:gd name="T22" fmla="*/ 12 w 180"/>
                <a:gd name="T23" fmla="*/ 240 h 252"/>
                <a:gd name="T24" fmla="*/ 168 w 180"/>
                <a:gd name="T25" fmla="*/ 240 h 252"/>
                <a:gd name="T26" fmla="*/ 168 w 180"/>
                <a:gd name="T27" fmla="*/ 80 h 252"/>
                <a:gd name="T28" fmla="*/ 100 w 180"/>
                <a:gd name="T29" fmla="*/ 12 h 252"/>
                <a:gd name="T30" fmla="*/ 12 w 180"/>
                <a:gd name="T31" fmla="*/ 12 h 252"/>
                <a:gd name="T32" fmla="*/ 12 w 180"/>
                <a:gd name="T33" fmla="*/ 24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" h="252">
                  <a:moveTo>
                    <a:pt x="174" y="252"/>
                  </a:moveTo>
                  <a:cubicBezTo>
                    <a:pt x="6" y="252"/>
                    <a:pt x="6" y="252"/>
                    <a:pt x="6" y="252"/>
                  </a:cubicBezTo>
                  <a:cubicBezTo>
                    <a:pt x="3" y="252"/>
                    <a:pt x="0" y="249"/>
                    <a:pt x="0" y="24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4" y="0"/>
                    <a:pt x="105" y="0"/>
                    <a:pt x="106" y="1"/>
                  </a:cubicBezTo>
                  <a:cubicBezTo>
                    <a:pt x="178" y="73"/>
                    <a:pt x="178" y="73"/>
                    <a:pt x="178" y="73"/>
                  </a:cubicBezTo>
                  <a:cubicBezTo>
                    <a:pt x="180" y="75"/>
                    <a:pt x="180" y="76"/>
                    <a:pt x="180" y="78"/>
                  </a:cubicBezTo>
                  <a:cubicBezTo>
                    <a:pt x="180" y="246"/>
                    <a:pt x="180" y="246"/>
                    <a:pt x="180" y="246"/>
                  </a:cubicBezTo>
                  <a:cubicBezTo>
                    <a:pt x="180" y="249"/>
                    <a:pt x="178" y="252"/>
                    <a:pt x="174" y="252"/>
                  </a:cubicBezTo>
                  <a:close/>
                  <a:moveTo>
                    <a:pt x="12" y="240"/>
                  </a:moveTo>
                  <a:cubicBezTo>
                    <a:pt x="168" y="240"/>
                    <a:pt x="168" y="240"/>
                    <a:pt x="168" y="240"/>
                  </a:cubicBezTo>
                  <a:cubicBezTo>
                    <a:pt x="168" y="80"/>
                    <a:pt x="168" y="80"/>
                    <a:pt x="168" y="80"/>
                  </a:cubicBezTo>
                  <a:cubicBezTo>
                    <a:pt x="100" y="12"/>
                    <a:pt x="100" y="12"/>
                    <a:pt x="10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42" name="Freeform 261">
              <a:extLst>
                <a:ext uri="{FF2B5EF4-FFF2-40B4-BE49-F238E27FC236}">
                  <a16:creationId xmlns:a16="http://schemas.microsoft.com/office/drawing/2014/main" id="{67E06A49-DBD7-56C7-FAD9-DD9DE3B36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997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4"/>
                    <a:pt x="84" y="78"/>
                  </a:cubicBezTo>
                  <a:cubicBezTo>
                    <a:pt x="84" y="81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114285C0-C83C-9DB2-1A30-57E3196FB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1" y="3050"/>
              <a:ext cx="267" cy="373"/>
            </a:xfrm>
            <a:custGeom>
              <a:avLst/>
              <a:gdLst>
                <a:gd name="T0" fmla="*/ 174 w 180"/>
                <a:gd name="T1" fmla="*/ 252 h 252"/>
                <a:gd name="T2" fmla="*/ 6 w 180"/>
                <a:gd name="T3" fmla="*/ 252 h 252"/>
                <a:gd name="T4" fmla="*/ 0 w 180"/>
                <a:gd name="T5" fmla="*/ 246 h 252"/>
                <a:gd name="T6" fmla="*/ 0 w 180"/>
                <a:gd name="T7" fmla="*/ 6 h 252"/>
                <a:gd name="T8" fmla="*/ 6 w 180"/>
                <a:gd name="T9" fmla="*/ 0 h 252"/>
                <a:gd name="T10" fmla="*/ 42 w 180"/>
                <a:gd name="T11" fmla="*/ 0 h 252"/>
                <a:gd name="T12" fmla="*/ 48 w 180"/>
                <a:gd name="T13" fmla="*/ 6 h 252"/>
                <a:gd name="T14" fmla="*/ 42 w 180"/>
                <a:gd name="T15" fmla="*/ 12 h 252"/>
                <a:gd name="T16" fmla="*/ 12 w 180"/>
                <a:gd name="T17" fmla="*/ 12 h 252"/>
                <a:gd name="T18" fmla="*/ 12 w 180"/>
                <a:gd name="T19" fmla="*/ 240 h 252"/>
                <a:gd name="T20" fmla="*/ 168 w 180"/>
                <a:gd name="T21" fmla="*/ 240 h 252"/>
                <a:gd name="T22" fmla="*/ 168 w 180"/>
                <a:gd name="T23" fmla="*/ 210 h 252"/>
                <a:gd name="T24" fmla="*/ 174 w 180"/>
                <a:gd name="T25" fmla="*/ 204 h 252"/>
                <a:gd name="T26" fmla="*/ 180 w 180"/>
                <a:gd name="T27" fmla="*/ 210 h 252"/>
                <a:gd name="T28" fmla="*/ 180 w 180"/>
                <a:gd name="T29" fmla="*/ 246 h 252"/>
                <a:gd name="T30" fmla="*/ 174 w 180"/>
                <a:gd name="T31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0" h="252">
                  <a:moveTo>
                    <a:pt x="174" y="252"/>
                  </a:moveTo>
                  <a:cubicBezTo>
                    <a:pt x="6" y="252"/>
                    <a:pt x="6" y="252"/>
                    <a:pt x="6" y="252"/>
                  </a:cubicBezTo>
                  <a:cubicBezTo>
                    <a:pt x="3" y="252"/>
                    <a:pt x="0" y="249"/>
                    <a:pt x="0" y="24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40"/>
                    <a:pt x="12" y="240"/>
                    <a:pt x="12" y="240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168" y="210"/>
                    <a:pt x="168" y="210"/>
                    <a:pt x="168" y="210"/>
                  </a:cubicBezTo>
                  <a:cubicBezTo>
                    <a:pt x="168" y="206"/>
                    <a:pt x="171" y="204"/>
                    <a:pt x="174" y="204"/>
                  </a:cubicBezTo>
                  <a:cubicBezTo>
                    <a:pt x="178" y="204"/>
                    <a:pt x="180" y="206"/>
                    <a:pt x="180" y="210"/>
                  </a:cubicBezTo>
                  <a:cubicBezTo>
                    <a:pt x="180" y="246"/>
                    <a:pt x="180" y="246"/>
                    <a:pt x="180" y="246"/>
                  </a:cubicBezTo>
                  <a:cubicBezTo>
                    <a:pt x="180" y="249"/>
                    <a:pt x="178" y="252"/>
                    <a:pt x="174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E272F5C-45AC-7D18-9092-D4CFBA777B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7084" y="3481792"/>
            <a:ext cx="676731" cy="592534"/>
            <a:chOff x="6538" y="3024"/>
            <a:chExt cx="426" cy="373"/>
          </a:xfrm>
          <a:solidFill>
            <a:schemeClr val="accent2"/>
          </a:solidFill>
        </p:grpSpPr>
        <p:sp>
          <p:nvSpPr>
            <p:cNvPr id="33" name="Freeform 59">
              <a:extLst>
                <a:ext uri="{FF2B5EF4-FFF2-40B4-BE49-F238E27FC236}">
                  <a16:creationId xmlns:a16="http://schemas.microsoft.com/office/drawing/2014/main" id="{3E030351-5E9D-DCD3-37B5-84A00CCBB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2" y="3105"/>
              <a:ext cx="79" cy="112"/>
            </a:xfrm>
            <a:custGeom>
              <a:avLst/>
              <a:gdLst>
                <a:gd name="T0" fmla="*/ 36 w 53"/>
                <a:gd name="T1" fmla="*/ 74 h 75"/>
                <a:gd name="T2" fmla="*/ 30 w 53"/>
                <a:gd name="T3" fmla="*/ 70 h 75"/>
                <a:gd name="T4" fmla="*/ 26 w 53"/>
                <a:gd name="T5" fmla="*/ 57 h 75"/>
                <a:gd name="T6" fmla="*/ 22 w 53"/>
                <a:gd name="T7" fmla="*/ 70 h 75"/>
                <a:gd name="T8" fmla="*/ 16 w 53"/>
                <a:gd name="T9" fmla="*/ 74 h 75"/>
                <a:gd name="T10" fmla="*/ 10 w 53"/>
                <a:gd name="T11" fmla="*/ 69 h 75"/>
                <a:gd name="T12" fmla="*/ 1 w 53"/>
                <a:gd name="T13" fmla="*/ 7 h 75"/>
                <a:gd name="T14" fmla="*/ 6 w 53"/>
                <a:gd name="T15" fmla="*/ 0 h 75"/>
                <a:gd name="T16" fmla="*/ 12 w 53"/>
                <a:gd name="T17" fmla="*/ 5 h 75"/>
                <a:gd name="T18" fmla="*/ 18 w 53"/>
                <a:gd name="T19" fmla="*/ 42 h 75"/>
                <a:gd name="T20" fmla="*/ 21 w 53"/>
                <a:gd name="T21" fmla="*/ 35 h 75"/>
                <a:gd name="T22" fmla="*/ 26 w 53"/>
                <a:gd name="T23" fmla="*/ 31 h 75"/>
                <a:gd name="T24" fmla="*/ 32 w 53"/>
                <a:gd name="T25" fmla="*/ 35 h 75"/>
                <a:gd name="T26" fmla="*/ 34 w 53"/>
                <a:gd name="T27" fmla="*/ 42 h 75"/>
                <a:gd name="T28" fmla="*/ 40 w 53"/>
                <a:gd name="T29" fmla="*/ 5 h 75"/>
                <a:gd name="T30" fmla="*/ 47 w 53"/>
                <a:gd name="T31" fmla="*/ 0 h 75"/>
                <a:gd name="T32" fmla="*/ 52 w 53"/>
                <a:gd name="T33" fmla="*/ 7 h 75"/>
                <a:gd name="T34" fmla="*/ 42 w 53"/>
                <a:gd name="T35" fmla="*/ 69 h 75"/>
                <a:gd name="T36" fmla="*/ 37 w 53"/>
                <a:gd name="T37" fmla="*/ 74 h 75"/>
                <a:gd name="T38" fmla="*/ 36 w 53"/>
                <a:gd name="T39" fmla="*/ 7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75">
                  <a:moveTo>
                    <a:pt x="36" y="74"/>
                  </a:moveTo>
                  <a:cubicBezTo>
                    <a:pt x="34" y="74"/>
                    <a:pt x="31" y="73"/>
                    <a:pt x="30" y="70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1" y="73"/>
                    <a:pt x="19" y="75"/>
                    <a:pt x="16" y="74"/>
                  </a:cubicBezTo>
                  <a:cubicBezTo>
                    <a:pt x="13" y="74"/>
                    <a:pt x="11" y="72"/>
                    <a:pt x="10" y="6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2" y="1"/>
                    <a:pt x="6" y="0"/>
                  </a:cubicBezTo>
                  <a:cubicBezTo>
                    <a:pt x="9" y="0"/>
                    <a:pt x="12" y="2"/>
                    <a:pt x="12" y="5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3"/>
                    <a:pt x="24" y="31"/>
                    <a:pt x="26" y="31"/>
                  </a:cubicBezTo>
                  <a:cubicBezTo>
                    <a:pt x="29" y="31"/>
                    <a:pt x="31" y="33"/>
                    <a:pt x="32" y="35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2"/>
                    <a:pt x="44" y="0"/>
                    <a:pt x="47" y="0"/>
                  </a:cubicBezTo>
                  <a:cubicBezTo>
                    <a:pt x="50" y="1"/>
                    <a:pt x="53" y="4"/>
                    <a:pt x="52" y="7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72"/>
                    <a:pt x="39" y="74"/>
                    <a:pt x="37" y="74"/>
                  </a:cubicBezTo>
                  <a:cubicBezTo>
                    <a:pt x="37" y="74"/>
                    <a:pt x="36" y="74"/>
                    <a:pt x="3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34" name="Freeform 60">
              <a:extLst>
                <a:ext uri="{FF2B5EF4-FFF2-40B4-BE49-F238E27FC236}">
                  <a16:creationId xmlns:a16="http://schemas.microsoft.com/office/drawing/2014/main" id="{AB5695F5-D527-A032-954A-CB54FAECD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3" y="3105"/>
              <a:ext cx="76" cy="112"/>
            </a:xfrm>
            <a:custGeom>
              <a:avLst/>
              <a:gdLst>
                <a:gd name="T0" fmla="*/ 16 w 52"/>
                <a:gd name="T1" fmla="*/ 74 h 75"/>
                <a:gd name="T2" fmla="*/ 16 w 52"/>
                <a:gd name="T3" fmla="*/ 74 h 75"/>
                <a:gd name="T4" fmla="*/ 10 w 52"/>
                <a:gd name="T5" fmla="*/ 69 h 75"/>
                <a:gd name="T6" fmla="*/ 1 w 52"/>
                <a:gd name="T7" fmla="*/ 7 h 75"/>
                <a:gd name="T8" fmla="*/ 5 w 52"/>
                <a:gd name="T9" fmla="*/ 0 h 75"/>
                <a:gd name="T10" fmla="*/ 12 w 52"/>
                <a:gd name="T11" fmla="*/ 5 h 75"/>
                <a:gd name="T12" fmla="*/ 18 w 52"/>
                <a:gd name="T13" fmla="*/ 42 h 75"/>
                <a:gd name="T14" fmla="*/ 21 w 52"/>
                <a:gd name="T15" fmla="*/ 35 h 75"/>
                <a:gd name="T16" fmla="*/ 26 w 52"/>
                <a:gd name="T17" fmla="*/ 31 h 75"/>
                <a:gd name="T18" fmla="*/ 26 w 52"/>
                <a:gd name="T19" fmla="*/ 31 h 75"/>
                <a:gd name="T20" fmla="*/ 32 w 52"/>
                <a:gd name="T21" fmla="*/ 35 h 75"/>
                <a:gd name="T22" fmla="*/ 34 w 52"/>
                <a:gd name="T23" fmla="*/ 42 h 75"/>
                <a:gd name="T24" fmla="*/ 40 w 52"/>
                <a:gd name="T25" fmla="*/ 5 h 75"/>
                <a:gd name="T26" fmla="*/ 47 w 52"/>
                <a:gd name="T27" fmla="*/ 0 h 75"/>
                <a:gd name="T28" fmla="*/ 52 w 52"/>
                <a:gd name="T29" fmla="*/ 7 h 75"/>
                <a:gd name="T30" fmla="*/ 42 w 52"/>
                <a:gd name="T31" fmla="*/ 69 h 75"/>
                <a:gd name="T32" fmla="*/ 37 w 52"/>
                <a:gd name="T33" fmla="*/ 74 h 75"/>
                <a:gd name="T34" fmla="*/ 30 w 52"/>
                <a:gd name="T35" fmla="*/ 70 h 75"/>
                <a:gd name="T36" fmla="*/ 26 w 52"/>
                <a:gd name="T37" fmla="*/ 57 h 75"/>
                <a:gd name="T38" fmla="*/ 22 w 52"/>
                <a:gd name="T39" fmla="*/ 70 h 75"/>
                <a:gd name="T40" fmla="*/ 16 w 52"/>
                <a:gd name="T41" fmla="*/ 7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" h="75">
                  <a:moveTo>
                    <a:pt x="16" y="74"/>
                  </a:moveTo>
                  <a:cubicBezTo>
                    <a:pt x="16" y="74"/>
                    <a:pt x="16" y="74"/>
                    <a:pt x="16" y="74"/>
                  </a:cubicBezTo>
                  <a:cubicBezTo>
                    <a:pt x="13" y="74"/>
                    <a:pt x="11" y="72"/>
                    <a:pt x="10" y="6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2" y="1"/>
                    <a:pt x="5" y="0"/>
                  </a:cubicBezTo>
                  <a:cubicBezTo>
                    <a:pt x="9" y="0"/>
                    <a:pt x="12" y="2"/>
                    <a:pt x="12" y="5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3"/>
                    <a:pt x="24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9" y="31"/>
                    <a:pt x="31" y="33"/>
                    <a:pt x="32" y="35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2"/>
                    <a:pt x="44" y="0"/>
                    <a:pt x="47" y="0"/>
                  </a:cubicBezTo>
                  <a:cubicBezTo>
                    <a:pt x="50" y="1"/>
                    <a:pt x="52" y="4"/>
                    <a:pt x="52" y="7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72"/>
                    <a:pt x="39" y="74"/>
                    <a:pt x="37" y="74"/>
                  </a:cubicBezTo>
                  <a:cubicBezTo>
                    <a:pt x="34" y="75"/>
                    <a:pt x="31" y="73"/>
                    <a:pt x="30" y="70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1" y="73"/>
                    <a:pt x="19" y="74"/>
                    <a:pt x="1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35" name="Freeform 61">
              <a:extLst>
                <a:ext uri="{FF2B5EF4-FFF2-40B4-BE49-F238E27FC236}">
                  <a16:creationId xmlns:a16="http://schemas.microsoft.com/office/drawing/2014/main" id="{B976A901-159B-C78C-0051-1FB8F2531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3" y="3105"/>
              <a:ext cx="77" cy="112"/>
            </a:xfrm>
            <a:custGeom>
              <a:avLst/>
              <a:gdLst>
                <a:gd name="T0" fmla="*/ 36 w 52"/>
                <a:gd name="T1" fmla="*/ 74 h 75"/>
                <a:gd name="T2" fmla="*/ 30 w 52"/>
                <a:gd name="T3" fmla="*/ 70 h 75"/>
                <a:gd name="T4" fmla="*/ 26 w 52"/>
                <a:gd name="T5" fmla="*/ 57 h 75"/>
                <a:gd name="T6" fmla="*/ 22 w 52"/>
                <a:gd name="T7" fmla="*/ 70 h 75"/>
                <a:gd name="T8" fmla="*/ 16 w 52"/>
                <a:gd name="T9" fmla="*/ 74 h 75"/>
                <a:gd name="T10" fmla="*/ 10 w 52"/>
                <a:gd name="T11" fmla="*/ 69 h 75"/>
                <a:gd name="T12" fmla="*/ 0 w 52"/>
                <a:gd name="T13" fmla="*/ 7 h 75"/>
                <a:gd name="T14" fmla="*/ 5 w 52"/>
                <a:gd name="T15" fmla="*/ 0 h 75"/>
                <a:gd name="T16" fmla="*/ 12 w 52"/>
                <a:gd name="T17" fmla="*/ 5 h 75"/>
                <a:gd name="T18" fmla="*/ 18 w 52"/>
                <a:gd name="T19" fmla="*/ 42 h 75"/>
                <a:gd name="T20" fmla="*/ 20 w 52"/>
                <a:gd name="T21" fmla="*/ 35 h 75"/>
                <a:gd name="T22" fmla="*/ 26 w 52"/>
                <a:gd name="T23" fmla="*/ 31 h 75"/>
                <a:gd name="T24" fmla="*/ 32 w 52"/>
                <a:gd name="T25" fmla="*/ 35 h 75"/>
                <a:gd name="T26" fmla="*/ 34 w 52"/>
                <a:gd name="T27" fmla="*/ 42 h 75"/>
                <a:gd name="T28" fmla="*/ 40 w 52"/>
                <a:gd name="T29" fmla="*/ 5 h 75"/>
                <a:gd name="T30" fmla="*/ 47 w 52"/>
                <a:gd name="T31" fmla="*/ 0 h 75"/>
                <a:gd name="T32" fmla="*/ 52 w 52"/>
                <a:gd name="T33" fmla="*/ 7 h 75"/>
                <a:gd name="T34" fmla="*/ 42 w 52"/>
                <a:gd name="T35" fmla="*/ 69 h 75"/>
                <a:gd name="T36" fmla="*/ 37 w 52"/>
                <a:gd name="T37" fmla="*/ 74 h 75"/>
                <a:gd name="T38" fmla="*/ 36 w 52"/>
                <a:gd name="T39" fmla="*/ 7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75">
                  <a:moveTo>
                    <a:pt x="36" y="74"/>
                  </a:moveTo>
                  <a:cubicBezTo>
                    <a:pt x="34" y="74"/>
                    <a:pt x="31" y="73"/>
                    <a:pt x="30" y="70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1" y="73"/>
                    <a:pt x="19" y="75"/>
                    <a:pt x="16" y="74"/>
                  </a:cubicBezTo>
                  <a:cubicBezTo>
                    <a:pt x="13" y="74"/>
                    <a:pt x="11" y="72"/>
                    <a:pt x="10" y="6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4"/>
                    <a:pt x="2" y="1"/>
                    <a:pt x="5" y="0"/>
                  </a:cubicBezTo>
                  <a:cubicBezTo>
                    <a:pt x="9" y="0"/>
                    <a:pt x="12" y="2"/>
                    <a:pt x="12" y="5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1" y="33"/>
                    <a:pt x="24" y="31"/>
                    <a:pt x="26" y="31"/>
                  </a:cubicBezTo>
                  <a:cubicBezTo>
                    <a:pt x="29" y="31"/>
                    <a:pt x="31" y="33"/>
                    <a:pt x="32" y="35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2"/>
                    <a:pt x="44" y="0"/>
                    <a:pt x="47" y="0"/>
                  </a:cubicBezTo>
                  <a:cubicBezTo>
                    <a:pt x="50" y="1"/>
                    <a:pt x="52" y="4"/>
                    <a:pt x="52" y="7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72"/>
                    <a:pt x="39" y="74"/>
                    <a:pt x="37" y="74"/>
                  </a:cubicBezTo>
                  <a:cubicBezTo>
                    <a:pt x="36" y="74"/>
                    <a:pt x="36" y="74"/>
                    <a:pt x="3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36" name="Freeform 62">
              <a:extLst>
                <a:ext uri="{FF2B5EF4-FFF2-40B4-BE49-F238E27FC236}">
                  <a16:creationId xmlns:a16="http://schemas.microsoft.com/office/drawing/2014/main" id="{E59B19B7-BF2B-1FDD-F8A0-3F96A98B1B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8" y="3024"/>
              <a:ext cx="426" cy="338"/>
            </a:xfrm>
            <a:custGeom>
              <a:avLst/>
              <a:gdLst>
                <a:gd name="T0" fmla="*/ 264 w 288"/>
                <a:gd name="T1" fmla="*/ 228 h 228"/>
                <a:gd name="T2" fmla="*/ 24 w 288"/>
                <a:gd name="T3" fmla="*/ 228 h 228"/>
                <a:gd name="T4" fmla="*/ 0 w 288"/>
                <a:gd name="T5" fmla="*/ 203 h 228"/>
                <a:gd name="T6" fmla="*/ 0 w 288"/>
                <a:gd name="T7" fmla="*/ 26 h 228"/>
                <a:gd name="T8" fmla="*/ 24 w 288"/>
                <a:gd name="T9" fmla="*/ 0 h 228"/>
                <a:gd name="T10" fmla="*/ 264 w 288"/>
                <a:gd name="T11" fmla="*/ 0 h 228"/>
                <a:gd name="T12" fmla="*/ 288 w 288"/>
                <a:gd name="T13" fmla="*/ 26 h 228"/>
                <a:gd name="T14" fmla="*/ 288 w 288"/>
                <a:gd name="T15" fmla="*/ 203 h 228"/>
                <a:gd name="T16" fmla="*/ 264 w 288"/>
                <a:gd name="T17" fmla="*/ 228 h 228"/>
                <a:gd name="T18" fmla="*/ 24 w 288"/>
                <a:gd name="T19" fmla="*/ 12 h 228"/>
                <a:gd name="T20" fmla="*/ 12 w 288"/>
                <a:gd name="T21" fmla="*/ 26 h 228"/>
                <a:gd name="T22" fmla="*/ 12 w 288"/>
                <a:gd name="T23" fmla="*/ 203 h 228"/>
                <a:gd name="T24" fmla="*/ 24 w 288"/>
                <a:gd name="T25" fmla="*/ 216 h 228"/>
                <a:gd name="T26" fmla="*/ 264 w 288"/>
                <a:gd name="T27" fmla="*/ 216 h 228"/>
                <a:gd name="T28" fmla="*/ 276 w 288"/>
                <a:gd name="T29" fmla="*/ 203 h 228"/>
                <a:gd name="T30" fmla="*/ 276 w 288"/>
                <a:gd name="T31" fmla="*/ 26 h 228"/>
                <a:gd name="T32" fmla="*/ 264 w 288"/>
                <a:gd name="T33" fmla="*/ 12 h 228"/>
                <a:gd name="T34" fmla="*/ 24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1" y="228"/>
                    <a:pt x="0" y="217"/>
                    <a:pt x="0" y="20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2"/>
                    <a:pt x="288" y="26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8"/>
                    <a:pt x="12" y="26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1"/>
                    <a:pt x="18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1" y="216"/>
                    <a:pt x="276" y="211"/>
                    <a:pt x="276" y="203"/>
                  </a:cubicBezTo>
                  <a:cubicBezTo>
                    <a:pt x="276" y="26"/>
                    <a:pt x="276" y="26"/>
                    <a:pt x="276" y="26"/>
                  </a:cubicBezTo>
                  <a:cubicBezTo>
                    <a:pt x="276" y="18"/>
                    <a:pt x="271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37" name="Freeform 63">
              <a:extLst>
                <a:ext uri="{FF2B5EF4-FFF2-40B4-BE49-F238E27FC236}">
                  <a16:creationId xmlns:a16="http://schemas.microsoft.com/office/drawing/2014/main" id="{4BED9701-3E73-08B9-B66A-16DB67D13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8" y="3380"/>
              <a:ext cx="266" cy="17"/>
            </a:xfrm>
            <a:custGeom>
              <a:avLst/>
              <a:gdLst>
                <a:gd name="T0" fmla="*/ 174 w 180"/>
                <a:gd name="T1" fmla="*/ 12 h 12"/>
                <a:gd name="T2" fmla="*/ 6 w 180"/>
                <a:gd name="T3" fmla="*/ 12 h 12"/>
                <a:gd name="T4" fmla="*/ 0 w 180"/>
                <a:gd name="T5" fmla="*/ 6 h 12"/>
                <a:gd name="T6" fmla="*/ 6 w 180"/>
                <a:gd name="T7" fmla="*/ 0 h 12"/>
                <a:gd name="T8" fmla="*/ 174 w 180"/>
                <a:gd name="T9" fmla="*/ 0 h 12"/>
                <a:gd name="T10" fmla="*/ 180 w 180"/>
                <a:gd name="T11" fmla="*/ 6 h 12"/>
                <a:gd name="T12" fmla="*/ 174 w 1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2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8" y="0"/>
                    <a:pt x="180" y="3"/>
                    <a:pt x="180" y="6"/>
                  </a:cubicBezTo>
                  <a:cubicBezTo>
                    <a:pt x="180" y="10"/>
                    <a:pt x="178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38" name="Freeform 64">
              <a:extLst>
                <a:ext uri="{FF2B5EF4-FFF2-40B4-BE49-F238E27FC236}">
                  <a16:creationId xmlns:a16="http://schemas.microsoft.com/office/drawing/2014/main" id="{E89CBAD8-D9D2-DE40-3E48-CA75B2CC7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" y="3344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10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0E81703E-A0E1-DECA-CC4E-F85974D78D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3" y="3300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8728242-DA7A-B001-FA29-6124B892F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7" y="3273"/>
              <a:ext cx="40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F1997EC-5CE3-E653-DDA3-8FFFC841D4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8274" y="5167136"/>
            <a:ext cx="599861" cy="588590"/>
            <a:chOff x="528" y="3153"/>
            <a:chExt cx="426" cy="418"/>
          </a:xfrm>
          <a:solidFill>
            <a:schemeClr val="accent2"/>
          </a:solidFill>
        </p:grpSpPr>
        <p:sp>
          <p:nvSpPr>
            <p:cNvPr id="25" name="Freeform 208">
              <a:extLst>
                <a:ext uri="{FF2B5EF4-FFF2-40B4-BE49-F238E27FC236}">
                  <a16:creationId xmlns:a16="http://schemas.microsoft.com/office/drawing/2014/main" id="{B8C56557-23CD-7074-6848-27E7FDE15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3224"/>
              <a:ext cx="248" cy="18"/>
            </a:xfrm>
            <a:custGeom>
              <a:avLst/>
              <a:gdLst>
                <a:gd name="T0" fmla="*/ 162 w 168"/>
                <a:gd name="T1" fmla="*/ 12 h 12"/>
                <a:gd name="T2" fmla="*/ 6 w 168"/>
                <a:gd name="T3" fmla="*/ 12 h 12"/>
                <a:gd name="T4" fmla="*/ 0 w 168"/>
                <a:gd name="T5" fmla="*/ 6 h 12"/>
                <a:gd name="T6" fmla="*/ 6 w 168"/>
                <a:gd name="T7" fmla="*/ 0 h 12"/>
                <a:gd name="T8" fmla="*/ 162 w 168"/>
                <a:gd name="T9" fmla="*/ 0 h 12"/>
                <a:gd name="T10" fmla="*/ 168 w 168"/>
                <a:gd name="T11" fmla="*/ 6 h 12"/>
                <a:gd name="T12" fmla="*/ 162 w 16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16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6" y="0"/>
                    <a:pt x="168" y="2"/>
                    <a:pt x="168" y="6"/>
                  </a:cubicBezTo>
                  <a:cubicBezTo>
                    <a:pt x="168" y="9"/>
                    <a:pt x="166" y="12"/>
                    <a:pt x="16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26" name="Freeform 209">
              <a:extLst>
                <a:ext uri="{FF2B5EF4-FFF2-40B4-BE49-F238E27FC236}">
                  <a16:creationId xmlns:a16="http://schemas.microsoft.com/office/drawing/2014/main" id="{8110BE47-33C8-EA32-807C-54CB3063F8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" y="3155"/>
              <a:ext cx="250" cy="217"/>
            </a:xfrm>
            <a:custGeom>
              <a:avLst/>
              <a:gdLst>
                <a:gd name="T0" fmla="*/ 84 w 169"/>
                <a:gd name="T1" fmla="*/ 150 h 150"/>
                <a:gd name="T2" fmla="*/ 80 w 169"/>
                <a:gd name="T3" fmla="*/ 148 h 150"/>
                <a:gd name="T4" fmla="*/ 2 w 169"/>
                <a:gd name="T5" fmla="*/ 58 h 150"/>
                <a:gd name="T6" fmla="*/ 1 w 169"/>
                <a:gd name="T7" fmla="*/ 50 h 150"/>
                <a:gd name="T8" fmla="*/ 37 w 169"/>
                <a:gd name="T9" fmla="*/ 2 h 150"/>
                <a:gd name="T10" fmla="*/ 42 w 169"/>
                <a:gd name="T11" fmla="*/ 0 h 150"/>
                <a:gd name="T12" fmla="*/ 126 w 169"/>
                <a:gd name="T13" fmla="*/ 0 h 150"/>
                <a:gd name="T14" fmla="*/ 131 w 169"/>
                <a:gd name="T15" fmla="*/ 2 h 150"/>
                <a:gd name="T16" fmla="*/ 167 w 169"/>
                <a:gd name="T17" fmla="*/ 50 h 150"/>
                <a:gd name="T18" fmla="*/ 167 w 169"/>
                <a:gd name="T19" fmla="*/ 58 h 150"/>
                <a:gd name="T20" fmla="*/ 89 w 169"/>
                <a:gd name="T21" fmla="*/ 148 h 150"/>
                <a:gd name="T22" fmla="*/ 84 w 169"/>
                <a:gd name="T23" fmla="*/ 150 h 150"/>
                <a:gd name="T24" fmla="*/ 14 w 169"/>
                <a:gd name="T25" fmla="*/ 53 h 150"/>
                <a:gd name="T26" fmla="*/ 84 w 169"/>
                <a:gd name="T27" fmla="*/ 134 h 150"/>
                <a:gd name="T28" fmla="*/ 155 w 169"/>
                <a:gd name="T29" fmla="*/ 53 h 150"/>
                <a:gd name="T30" fmla="*/ 123 w 169"/>
                <a:gd name="T31" fmla="*/ 12 h 150"/>
                <a:gd name="T32" fmla="*/ 45 w 169"/>
                <a:gd name="T33" fmla="*/ 12 h 150"/>
                <a:gd name="T34" fmla="*/ 14 w 169"/>
                <a:gd name="T35" fmla="*/ 5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150">
                  <a:moveTo>
                    <a:pt x="84" y="150"/>
                  </a:moveTo>
                  <a:cubicBezTo>
                    <a:pt x="82" y="150"/>
                    <a:pt x="81" y="149"/>
                    <a:pt x="80" y="14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0" y="55"/>
                    <a:pt x="0" y="52"/>
                    <a:pt x="1" y="5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9" y="1"/>
                    <a:pt x="40" y="0"/>
                    <a:pt x="42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0" y="1"/>
                    <a:pt x="131" y="2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9" y="52"/>
                    <a:pt x="169" y="55"/>
                    <a:pt x="167" y="58"/>
                  </a:cubicBezTo>
                  <a:cubicBezTo>
                    <a:pt x="89" y="148"/>
                    <a:pt x="89" y="148"/>
                    <a:pt x="89" y="148"/>
                  </a:cubicBezTo>
                  <a:cubicBezTo>
                    <a:pt x="88" y="149"/>
                    <a:pt x="86" y="150"/>
                    <a:pt x="84" y="150"/>
                  </a:cubicBezTo>
                  <a:close/>
                  <a:moveTo>
                    <a:pt x="14" y="53"/>
                  </a:moveTo>
                  <a:cubicBezTo>
                    <a:pt x="84" y="134"/>
                    <a:pt x="84" y="134"/>
                    <a:pt x="84" y="134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45" y="12"/>
                    <a:pt x="45" y="12"/>
                    <a:pt x="45" y="12"/>
                  </a:cubicBezTo>
                  <a:lnTo>
                    <a:pt x="14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27" name="Freeform 210">
              <a:extLst>
                <a:ext uri="{FF2B5EF4-FFF2-40B4-BE49-F238E27FC236}">
                  <a16:creationId xmlns:a16="http://schemas.microsoft.com/office/drawing/2014/main" id="{2BABF994-79B9-19F3-F263-80E2FBB8D0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7" y="3502"/>
              <a:ext cx="124" cy="69"/>
            </a:xfrm>
            <a:custGeom>
              <a:avLst/>
              <a:gdLst>
                <a:gd name="T0" fmla="*/ 78 w 84"/>
                <a:gd name="T1" fmla="*/ 48 h 48"/>
                <a:gd name="T2" fmla="*/ 6 w 84"/>
                <a:gd name="T3" fmla="*/ 48 h 48"/>
                <a:gd name="T4" fmla="*/ 0 w 84"/>
                <a:gd name="T5" fmla="*/ 42 h 48"/>
                <a:gd name="T6" fmla="*/ 0 w 84"/>
                <a:gd name="T7" fmla="*/ 6 h 48"/>
                <a:gd name="T8" fmla="*/ 6 w 84"/>
                <a:gd name="T9" fmla="*/ 0 h 48"/>
                <a:gd name="T10" fmla="*/ 78 w 84"/>
                <a:gd name="T11" fmla="*/ 0 h 48"/>
                <a:gd name="T12" fmla="*/ 84 w 84"/>
                <a:gd name="T13" fmla="*/ 6 h 48"/>
                <a:gd name="T14" fmla="*/ 84 w 84"/>
                <a:gd name="T15" fmla="*/ 42 h 48"/>
                <a:gd name="T16" fmla="*/ 78 w 84"/>
                <a:gd name="T17" fmla="*/ 48 h 48"/>
                <a:gd name="T18" fmla="*/ 12 w 84"/>
                <a:gd name="T19" fmla="*/ 36 h 48"/>
                <a:gd name="T20" fmla="*/ 72 w 84"/>
                <a:gd name="T21" fmla="*/ 36 h 48"/>
                <a:gd name="T22" fmla="*/ 72 w 84"/>
                <a:gd name="T23" fmla="*/ 12 h 48"/>
                <a:gd name="T24" fmla="*/ 12 w 84"/>
                <a:gd name="T25" fmla="*/ 12 h 48"/>
                <a:gd name="T26" fmla="*/ 12 w 84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48">
                  <a:moveTo>
                    <a:pt x="78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6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5"/>
                    <a:pt x="82" y="48"/>
                    <a:pt x="78" y="48"/>
                  </a:cubicBezTo>
                  <a:close/>
                  <a:moveTo>
                    <a:pt x="12" y="36"/>
                  </a:moveTo>
                  <a:cubicBezTo>
                    <a:pt x="72" y="36"/>
                    <a:pt x="72" y="36"/>
                    <a:pt x="72" y="3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28" name="Freeform 211">
              <a:extLst>
                <a:ext uri="{FF2B5EF4-FFF2-40B4-BE49-F238E27FC236}">
                  <a16:creationId xmlns:a16="http://schemas.microsoft.com/office/drawing/2014/main" id="{1AA154BA-E328-0B7D-A4A1-41F0B60FE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" y="3262"/>
              <a:ext cx="160" cy="257"/>
            </a:xfrm>
            <a:custGeom>
              <a:avLst/>
              <a:gdLst>
                <a:gd name="T0" fmla="*/ 54 w 108"/>
                <a:gd name="T1" fmla="*/ 178 h 178"/>
                <a:gd name="T2" fmla="*/ 48 w 108"/>
                <a:gd name="T3" fmla="*/ 172 h 178"/>
                <a:gd name="T4" fmla="*/ 48 w 108"/>
                <a:gd name="T5" fmla="*/ 153 h 178"/>
                <a:gd name="T6" fmla="*/ 50 w 108"/>
                <a:gd name="T7" fmla="*/ 149 h 178"/>
                <a:gd name="T8" fmla="*/ 96 w 108"/>
                <a:gd name="T9" fmla="*/ 103 h 178"/>
                <a:gd name="T10" fmla="*/ 96 w 108"/>
                <a:gd name="T11" fmla="*/ 15 h 178"/>
                <a:gd name="T12" fmla="*/ 93 w 108"/>
                <a:gd name="T13" fmla="*/ 16 h 178"/>
                <a:gd name="T14" fmla="*/ 78 w 108"/>
                <a:gd name="T15" fmla="*/ 82 h 178"/>
                <a:gd name="T16" fmla="*/ 76 w 108"/>
                <a:gd name="T17" fmla="*/ 86 h 178"/>
                <a:gd name="T18" fmla="*/ 41 w 108"/>
                <a:gd name="T19" fmla="*/ 122 h 178"/>
                <a:gd name="T20" fmla="*/ 34 w 108"/>
                <a:gd name="T21" fmla="*/ 123 h 178"/>
                <a:gd name="T22" fmla="*/ 31 w 108"/>
                <a:gd name="T23" fmla="*/ 116 h 178"/>
                <a:gd name="T24" fmla="*/ 39 w 108"/>
                <a:gd name="T25" fmla="*/ 80 h 178"/>
                <a:gd name="T26" fmla="*/ 37 w 108"/>
                <a:gd name="T27" fmla="*/ 69 h 178"/>
                <a:gd name="T28" fmla="*/ 30 w 108"/>
                <a:gd name="T29" fmla="*/ 73 h 178"/>
                <a:gd name="T30" fmla="*/ 12 w 108"/>
                <a:gd name="T31" fmla="*/ 118 h 178"/>
                <a:gd name="T32" fmla="*/ 12 w 108"/>
                <a:gd name="T33" fmla="*/ 172 h 178"/>
                <a:gd name="T34" fmla="*/ 6 w 108"/>
                <a:gd name="T35" fmla="*/ 178 h 178"/>
                <a:gd name="T36" fmla="*/ 0 w 108"/>
                <a:gd name="T37" fmla="*/ 172 h 178"/>
                <a:gd name="T38" fmla="*/ 0 w 108"/>
                <a:gd name="T39" fmla="*/ 118 h 178"/>
                <a:gd name="T40" fmla="*/ 0 w 108"/>
                <a:gd name="T41" fmla="*/ 116 h 178"/>
                <a:gd name="T42" fmla="*/ 20 w 108"/>
                <a:gd name="T43" fmla="*/ 67 h 178"/>
                <a:gd name="T44" fmla="*/ 41 w 108"/>
                <a:gd name="T45" fmla="*/ 58 h 178"/>
                <a:gd name="T46" fmla="*/ 51 w 108"/>
                <a:gd name="T47" fmla="*/ 83 h 178"/>
                <a:gd name="T48" fmla="*/ 47 w 108"/>
                <a:gd name="T49" fmla="*/ 98 h 178"/>
                <a:gd name="T50" fmla="*/ 66 w 108"/>
                <a:gd name="T51" fmla="*/ 79 h 178"/>
                <a:gd name="T52" fmla="*/ 87 w 108"/>
                <a:gd name="T53" fmla="*/ 6 h 178"/>
                <a:gd name="T54" fmla="*/ 104 w 108"/>
                <a:gd name="T55" fmla="*/ 3 h 178"/>
                <a:gd name="T56" fmla="*/ 108 w 108"/>
                <a:gd name="T57" fmla="*/ 9 h 178"/>
                <a:gd name="T58" fmla="*/ 108 w 108"/>
                <a:gd name="T59" fmla="*/ 106 h 178"/>
                <a:gd name="T60" fmla="*/ 106 w 108"/>
                <a:gd name="T61" fmla="*/ 110 h 178"/>
                <a:gd name="T62" fmla="*/ 60 w 108"/>
                <a:gd name="T63" fmla="*/ 156 h 178"/>
                <a:gd name="T64" fmla="*/ 60 w 108"/>
                <a:gd name="T65" fmla="*/ 172 h 178"/>
                <a:gd name="T66" fmla="*/ 54 w 108"/>
                <a:gd name="T67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78">
                  <a:moveTo>
                    <a:pt x="54" y="178"/>
                  </a:moveTo>
                  <a:cubicBezTo>
                    <a:pt x="51" y="178"/>
                    <a:pt x="48" y="175"/>
                    <a:pt x="48" y="172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8" y="152"/>
                    <a:pt x="49" y="150"/>
                    <a:pt x="50" y="149"/>
                  </a:cubicBezTo>
                  <a:cubicBezTo>
                    <a:pt x="50" y="149"/>
                    <a:pt x="84" y="115"/>
                    <a:pt x="96" y="103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5" y="15"/>
                    <a:pt x="94" y="16"/>
                    <a:pt x="93" y="16"/>
                  </a:cubicBezTo>
                  <a:cubicBezTo>
                    <a:pt x="88" y="21"/>
                    <a:pt x="78" y="35"/>
                    <a:pt x="78" y="82"/>
                  </a:cubicBezTo>
                  <a:cubicBezTo>
                    <a:pt x="78" y="83"/>
                    <a:pt x="78" y="85"/>
                    <a:pt x="76" y="86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39" y="123"/>
                    <a:pt x="36" y="124"/>
                    <a:pt x="34" y="123"/>
                  </a:cubicBezTo>
                  <a:cubicBezTo>
                    <a:pt x="31" y="121"/>
                    <a:pt x="30" y="119"/>
                    <a:pt x="31" y="116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40" y="74"/>
                    <a:pt x="39" y="70"/>
                    <a:pt x="37" y="69"/>
                  </a:cubicBezTo>
                  <a:cubicBezTo>
                    <a:pt x="34" y="69"/>
                    <a:pt x="32" y="70"/>
                    <a:pt x="30" y="73"/>
                  </a:cubicBezTo>
                  <a:cubicBezTo>
                    <a:pt x="24" y="83"/>
                    <a:pt x="15" y="108"/>
                    <a:pt x="12" y="118"/>
                  </a:cubicBezTo>
                  <a:cubicBezTo>
                    <a:pt x="12" y="172"/>
                    <a:pt x="12" y="172"/>
                    <a:pt x="12" y="172"/>
                  </a:cubicBezTo>
                  <a:cubicBezTo>
                    <a:pt x="12" y="175"/>
                    <a:pt x="10" y="178"/>
                    <a:pt x="6" y="178"/>
                  </a:cubicBezTo>
                  <a:cubicBezTo>
                    <a:pt x="3" y="178"/>
                    <a:pt x="0" y="175"/>
                    <a:pt x="0" y="172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7"/>
                    <a:pt x="0" y="116"/>
                    <a:pt x="0" y="116"/>
                  </a:cubicBezTo>
                  <a:cubicBezTo>
                    <a:pt x="1" y="114"/>
                    <a:pt x="11" y="80"/>
                    <a:pt x="20" y="67"/>
                  </a:cubicBezTo>
                  <a:cubicBezTo>
                    <a:pt x="26" y="57"/>
                    <a:pt x="35" y="56"/>
                    <a:pt x="41" y="58"/>
                  </a:cubicBezTo>
                  <a:cubicBezTo>
                    <a:pt x="48" y="61"/>
                    <a:pt x="54" y="70"/>
                    <a:pt x="51" y="83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7" y="40"/>
                    <a:pt x="73" y="16"/>
                    <a:pt x="87" y="6"/>
                  </a:cubicBezTo>
                  <a:cubicBezTo>
                    <a:pt x="95" y="0"/>
                    <a:pt x="103" y="3"/>
                    <a:pt x="104" y="3"/>
                  </a:cubicBezTo>
                  <a:cubicBezTo>
                    <a:pt x="107" y="4"/>
                    <a:pt x="108" y="6"/>
                    <a:pt x="108" y="9"/>
                  </a:cubicBezTo>
                  <a:cubicBezTo>
                    <a:pt x="108" y="106"/>
                    <a:pt x="108" y="106"/>
                    <a:pt x="108" y="106"/>
                  </a:cubicBezTo>
                  <a:cubicBezTo>
                    <a:pt x="108" y="107"/>
                    <a:pt x="108" y="109"/>
                    <a:pt x="106" y="110"/>
                  </a:cubicBezTo>
                  <a:cubicBezTo>
                    <a:pt x="98" y="118"/>
                    <a:pt x="68" y="148"/>
                    <a:pt x="60" y="156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60" y="175"/>
                    <a:pt x="58" y="178"/>
                    <a:pt x="54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29" name="Freeform 212">
              <a:extLst>
                <a:ext uri="{FF2B5EF4-FFF2-40B4-BE49-F238E27FC236}">
                  <a16:creationId xmlns:a16="http://schemas.microsoft.com/office/drawing/2014/main" id="{8F2E474F-8721-ECFF-2195-A7CD5C17CD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" y="3502"/>
              <a:ext cx="124" cy="69"/>
            </a:xfrm>
            <a:custGeom>
              <a:avLst/>
              <a:gdLst>
                <a:gd name="T0" fmla="*/ 78 w 84"/>
                <a:gd name="T1" fmla="*/ 48 h 48"/>
                <a:gd name="T2" fmla="*/ 6 w 84"/>
                <a:gd name="T3" fmla="*/ 48 h 48"/>
                <a:gd name="T4" fmla="*/ 0 w 84"/>
                <a:gd name="T5" fmla="*/ 42 h 48"/>
                <a:gd name="T6" fmla="*/ 0 w 84"/>
                <a:gd name="T7" fmla="*/ 6 h 48"/>
                <a:gd name="T8" fmla="*/ 6 w 84"/>
                <a:gd name="T9" fmla="*/ 0 h 48"/>
                <a:gd name="T10" fmla="*/ 78 w 84"/>
                <a:gd name="T11" fmla="*/ 0 h 48"/>
                <a:gd name="T12" fmla="*/ 84 w 84"/>
                <a:gd name="T13" fmla="*/ 6 h 48"/>
                <a:gd name="T14" fmla="*/ 84 w 84"/>
                <a:gd name="T15" fmla="*/ 42 h 48"/>
                <a:gd name="T16" fmla="*/ 78 w 84"/>
                <a:gd name="T17" fmla="*/ 48 h 48"/>
                <a:gd name="T18" fmla="*/ 12 w 84"/>
                <a:gd name="T19" fmla="*/ 36 h 48"/>
                <a:gd name="T20" fmla="*/ 72 w 84"/>
                <a:gd name="T21" fmla="*/ 36 h 48"/>
                <a:gd name="T22" fmla="*/ 72 w 84"/>
                <a:gd name="T23" fmla="*/ 12 h 48"/>
                <a:gd name="T24" fmla="*/ 12 w 84"/>
                <a:gd name="T25" fmla="*/ 12 h 48"/>
                <a:gd name="T26" fmla="*/ 12 w 84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48">
                  <a:moveTo>
                    <a:pt x="78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6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5"/>
                    <a:pt x="82" y="48"/>
                    <a:pt x="78" y="48"/>
                  </a:cubicBezTo>
                  <a:close/>
                  <a:moveTo>
                    <a:pt x="12" y="36"/>
                  </a:moveTo>
                  <a:cubicBezTo>
                    <a:pt x="72" y="36"/>
                    <a:pt x="72" y="36"/>
                    <a:pt x="72" y="3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30" name="Freeform 213">
              <a:extLst>
                <a:ext uri="{FF2B5EF4-FFF2-40B4-BE49-F238E27FC236}">
                  <a16:creationId xmlns:a16="http://schemas.microsoft.com/office/drawing/2014/main" id="{8DB2F192-03A0-4EE7-DD5E-D103539E5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" y="3262"/>
              <a:ext cx="160" cy="257"/>
            </a:xfrm>
            <a:custGeom>
              <a:avLst/>
              <a:gdLst>
                <a:gd name="T0" fmla="*/ 102 w 108"/>
                <a:gd name="T1" fmla="*/ 178 h 178"/>
                <a:gd name="T2" fmla="*/ 96 w 108"/>
                <a:gd name="T3" fmla="*/ 172 h 178"/>
                <a:gd name="T4" fmla="*/ 96 w 108"/>
                <a:gd name="T5" fmla="*/ 118 h 178"/>
                <a:gd name="T6" fmla="*/ 79 w 108"/>
                <a:gd name="T7" fmla="*/ 73 h 178"/>
                <a:gd name="T8" fmla="*/ 72 w 108"/>
                <a:gd name="T9" fmla="*/ 69 h 178"/>
                <a:gd name="T10" fmla="*/ 69 w 108"/>
                <a:gd name="T11" fmla="*/ 80 h 178"/>
                <a:gd name="T12" fmla="*/ 78 w 108"/>
                <a:gd name="T13" fmla="*/ 116 h 178"/>
                <a:gd name="T14" fmla="*/ 75 w 108"/>
                <a:gd name="T15" fmla="*/ 123 h 178"/>
                <a:gd name="T16" fmla="*/ 68 w 108"/>
                <a:gd name="T17" fmla="*/ 122 h 178"/>
                <a:gd name="T18" fmla="*/ 32 w 108"/>
                <a:gd name="T19" fmla="*/ 86 h 178"/>
                <a:gd name="T20" fmla="*/ 30 w 108"/>
                <a:gd name="T21" fmla="*/ 82 h 178"/>
                <a:gd name="T22" fmla="*/ 15 w 108"/>
                <a:gd name="T23" fmla="*/ 16 h 178"/>
                <a:gd name="T24" fmla="*/ 12 w 108"/>
                <a:gd name="T25" fmla="*/ 15 h 178"/>
                <a:gd name="T26" fmla="*/ 12 w 108"/>
                <a:gd name="T27" fmla="*/ 103 h 178"/>
                <a:gd name="T28" fmla="*/ 59 w 108"/>
                <a:gd name="T29" fmla="*/ 149 h 178"/>
                <a:gd name="T30" fmla="*/ 60 w 108"/>
                <a:gd name="T31" fmla="*/ 153 h 178"/>
                <a:gd name="T32" fmla="*/ 60 w 108"/>
                <a:gd name="T33" fmla="*/ 172 h 178"/>
                <a:gd name="T34" fmla="*/ 54 w 108"/>
                <a:gd name="T35" fmla="*/ 178 h 178"/>
                <a:gd name="T36" fmla="*/ 48 w 108"/>
                <a:gd name="T37" fmla="*/ 172 h 178"/>
                <a:gd name="T38" fmla="*/ 48 w 108"/>
                <a:gd name="T39" fmla="*/ 156 h 178"/>
                <a:gd name="T40" fmla="*/ 2 w 108"/>
                <a:gd name="T41" fmla="*/ 110 h 178"/>
                <a:gd name="T42" fmla="*/ 0 w 108"/>
                <a:gd name="T43" fmla="*/ 106 h 178"/>
                <a:gd name="T44" fmla="*/ 0 w 108"/>
                <a:gd name="T45" fmla="*/ 9 h 178"/>
                <a:gd name="T46" fmla="*/ 4 w 108"/>
                <a:gd name="T47" fmla="*/ 3 h 178"/>
                <a:gd name="T48" fmla="*/ 22 w 108"/>
                <a:gd name="T49" fmla="*/ 6 h 178"/>
                <a:gd name="T50" fmla="*/ 42 w 108"/>
                <a:gd name="T51" fmla="*/ 79 h 178"/>
                <a:gd name="T52" fmla="*/ 61 w 108"/>
                <a:gd name="T53" fmla="*/ 98 h 178"/>
                <a:gd name="T54" fmla="*/ 58 w 108"/>
                <a:gd name="T55" fmla="*/ 83 h 178"/>
                <a:gd name="T56" fmla="*/ 67 w 108"/>
                <a:gd name="T57" fmla="*/ 58 h 178"/>
                <a:gd name="T58" fmla="*/ 89 w 108"/>
                <a:gd name="T59" fmla="*/ 67 h 178"/>
                <a:gd name="T60" fmla="*/ 108 w 108"/>
                <a:gd name="T61" fmla="*/ 116 h 178"/>
                <a:gd name="T62" fmla="*/ 108 w 108"/>
                <a:gd name="T63" fmla="*/ 118 h 178"/>
                <a:gd name="T64" fmla="*/ 108 w 108"/>
                <a:gd name="T65" fmla="*/ 172 h 178"/>
                <a:gd name="T66" fmla="*/ 102 w 108"/>
                <a:gd name="T67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78">
                  <a:moveTo>
                    <a:pt x="102" y="178"/>
                  </a:moveTo>
                  <a:cubicBezTo>
                    <a:pt x="99" y="178"/>
                    <a:pt x="96" y="175"/>
                    <a:pt x="96" y="172"/>
                  </a:cubicBezTo>
                  <a:cubicBezTo>
                    <a:pt x="96" y="118"/>
                    <a:pt x="96" y="118"/>
                    <a:pt x="96" y="118"/>
                  </a:cubicBezTo>
                  <a:cubicBezTo>
                    <a:pt x="93" y="108"/>
                    <a:pt x="85" y="82"/>
                    <a:pt x="79" y="73"/>
                  </a:cubicBezTo>
                  <a:cubicBezTo>
                    <a:pt x="77" y="70"/>
                    <a:pt x="74" y="69"/>
                    <a:pt x="72" y="69"/>
                  </a:cubicBezTo>
                  <a:cubicBezTo>
                    <a:pt x="70" y="70"/>
                    <a:pt x="68" y="74"/>
                    <a:pt x="69" y="80"/>
                  </a:cubicBezTo>
                  <a:cubicBezTo>
                    <a:pt x="78" y="116"/>
                    <a:pt x="78" y="116"/>
                    <a:pt x="78" y="116"/>
                  </a:cubicBezTo>
                  <a:cubicBezTo>
                    <a:pt x="78" y="119"/>
                    <a:pt x="77" y="121"/>
                    <a:pt x="75" y="123"/>
                  </a:cubicBezTo>
                  <a:cubicBezTo>
                    <a:pt x="72" y="124"/>
                    <a:pt x="70" y="123"/>
                    <a:pt x="68" y="122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1" y="85"/>
                    <a:pt x="30" y="83"/>
                    <a:pt x="30" y="82"/>
                  </a:cubicBezTo>
                  <a:cubicBezTo>
                    <a:pt x="30" y="35"/>
                    <a:pt x="21" y="21"/>
                    <a:pt x="15" y="16"/>
                  </a:cubicBezTo>
                  <a:cubicBezTo>
                    <a:pt x="14" y="16"/>
                    <a:pt x="13" y="15"/>
                    <a:pt x="12" y="15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26" y="115"/>
                    <a:pt x="57" y="148"/>
                    <a:pt x="59" y="149"/>
                  </a:cubicBezTo>
                  <a:cubicBezTo>
                    <a:pt x="60" y="150"/>
                    <a:pt x="60" y="152"/>
                    <a:pt x="60" y="153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60" y="175"/>
                    <a:pt x="58" y="178"/>
                    <a:pt x="54" y="178"/>
                  </a:cubicBezTo>
                  <a:cubicBezTo>
                    <a:pt x="51" y="178"/>
                    <a:pt x="48" y="175"/>
                    <a:pt x="48" y="172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41" y="148"/>
                    <a:pt x="13" y="119"/>
                    <a:pt x="2" y="110"/>
                  </a:cubicBezTo>
                  <a:cubicBezTo>
                    <a:pt x="1" y="109"/>
                    <a:pt x="0" y="107"/>
                    <a:pt x="0" y="10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6"/>
                    <a:pt x="2" y="4"/>
                    <a:pt x="4" y="3"/>
                  </a:cubicBezTo>
                  <a:cubicBezTo>
                    <a:pt x="5" y="3"/>
                    <a:pt x="13" y="0"/>
                    <a:pt x="22" y="6"/>
                  </a:cubicBezTo>
                  <a:cubicBezTo>
                    <a:pt x="35" y="16"/>
                    <a:pt x="42" y="40"/>
                    <a:pt x="42" y="79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5" y="70"/>
                    <a:pt x="60" y="61"/>
                    <a:pt x="67" y="58"/>
                  </a:cubicBezTo>
                  <a:cubicBezTo>
                    <a:pt x="74" y="56"/>
                    <a:pt x="83" y="57"/>
                    <a:pt x="89" y="67"/>
                  </a:cubicBezTo>
                  <a:cubicBezTo>
                    <a:pt x="97" y="80"/>
                    <a:pt x="108" y="114"/>
                    <a:pt x="108" y="116"/>
                  </a:cubicBezTo>
                  <a:cubicBezTo>
                    <a:pt x="108" y="116"/>
                    <a:pt x="108" y="117"/>
                    <a:pt x="108" y="118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8" y="175"/>
                    <a:pt x="106" y="178"/>
                    <a:pt x="102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31" name="Freeform 214">
              <a:extLst>
                <a:ext uri="{FF2B5EF4-FFF2-40B4-BE49-F238E27FC236}">
                  <a16:creationId xmlns:a16="http://schemas.microsoft.com/office/drawing/2014/main" id="{5DBD6A62-BB4F-C2AE-A161-C3A9E0CBD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" y="3153"/>
              <a:ext cx="81" cy="219"/>
            </a:xfrm>
            <a:custGeom>
              <a:avLst/>
              <a:gdLst>
                <a:gd name="T0" fmla="*/ 48 w 55"/>
                <a:gd name="T1" fmla="*/ 151 h 151"/>
                <a:gd name="T2" fmla="*/ 43 w 55"/>
                <a:gd name="T3" fmla="*/ 147 h 151"/>
                <a:gd name="T4" fmla="*/ 12 w 55"/>
                <a:gd name="T5" fmla="*/ 57 h 151"/>
                <a:gd name="T6" fmla="*/ 12 w 55"/>
                <a:gd name="T7" fmla="*/ 56 h 151"/>
                <a:gd name="T8" fmla="*/ 0 w 55"/>
                <a:gd name="T9" fmla="*/ 8 h 151"/>
                <a:gd name="T10" fmla="*/ 5 w 55"/>
                <a:gd name="T11" fmla="*/ 1 h 151"/>
                <a:gd name="T12" fmla="*/ 12 w 55"/>
                <a:gd name="T13" fmla="*/ 5 h 151"/>
                <a:gd name="T14" fmla="*/ 24 w 55"/>
                <a:gd name="T15" fmla="*/ 53 h 151"/>
                <a:gd name="T16" fmla="*/ 54 w 55"/>
                <a:gd name="T17" fmla="*/ 143 h 151"/>
                <a:gd name="T18" fmla="*/ 50 w 55"/>
                <a:gd name="T19" fmla="*/ 150 h 151"/>
                <a:gd name="T20" fmla="*/ 48 w 55"/>
                <a:gd name="T21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51">
                  <a:moveTo>
                    <a:pt x="48" y="151"/>
                  </a:moveTo>
                  <a:cubicBezTo>
                    <a:pt x="46" y="151"/>
                    <a:pt x="43" y="149"/>
                    <a:pt x="43" y="147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1"/>
                  </a:cubicBezTo>
                  <a:cubicBezTo>
                    <a:pt x="8" y="0"/>
                    <a:pt x="11" y="2"/>
                    <a:pt x="12" y="5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54" y="143"/>
                    <a:pt x="54" y="143"/>
                    <a:pt x="54" y="143"/>
                  </a:cubicBezTo>
                  <a:cubicBezTo>
                    <a:pt x="55" y="146"/>
                    <a:pt x="53" y="149"/>
                    <a:pt x="50" y="150"/>
                  </a:cubicBezTo>
                  <a:cubicBezTo>
                    <a:pt x="50" y="151"/>
                    <a:pt x="49" y="151"/>
                    <a:pt x="48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  <p:sp>
          <p:nvSpPr>
            <p:cNvPr id="32" name="Freeform 215">
              <a:extLst>
                <a:ext uri="{FF2B5EF4-FFF2-40B4-BE49-F238E27FC236}">
                  <a16:creationId xmlns:a16="http://schemas.microsoft.com/office/drawing/2014/main" id="{851C207E-4953-4E73-087B-FEB29C709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" y="3153"/>
              <a:ext cx="82" cy="219"/>
            </a:xfrm>
            <a:custGeom>
              <a:avLst/>
              <a:gdLst>
                <a:gd name="T0" fmla="*/ 7 w 55"/>
                <a:gd name="T1" fmla="*/ 151 h 151"/>
                <a:gd name="T2" fmla="*/ 5 w 55"/>
                <a:gd name="T3" fmla="*/ 150 h 151"/>
                <a:gd name="T4" fmla="*/ 1 w 55"/>
                <a:gd name="T5" fmla="*/ 143 h 151"/>
                <a:gd name="T6" fmla="*/ 30 w 55"/>
                <a:gd name="T7" fmla="*/ 53 h 151"/>
                <a:gd name="T8" fmla="*/ 42 w 55"/>
                <a:gd name="T9" fmla="*/ 5 h 151"/>
                <a:gd name="T10" fmla="*/ 50 w 55"/>
                <a:gd name="T11" fmla="*/ 1 h 151"/>
                <a:gd name="T12" fmla="*/ 54 w 55"/>
                <a:gd name="T13" fmla="*/ 8 h 151"/>
                <a:gd name="T14" fmla="*/ 42 w 55"/>
                <a:gd name="T15" fmla="*/ 56 h 151"/>
                <a:gd name="T16" fmla="*/ 42 w 55"/>
                <a:gd name="T17" fmla="*/ 57 h 151"/>
                <a:gd name="T18" fmla="*/ 12 w 55"/>
                <a:gd name="T19" fmla="*/ 147 h 151"/>
                <a:gd name="T20" fmla="*/ 7 w 55"/>
                <a:gd name="T21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51">
                  <a:moveTo>
                    <a:pt x="7" y="151"/>
                  </a:moveTo>
                  <a:cubicBezTo>
                    <a:pt x="6" y="151"/>
                    <a:pt x="5" y="151"/>
                    <a:pt x="5" y="150"/>
                  </a:cubicBezTo>
                  <a:cubicBezTo>
                    <a:pt x="2" y="149"/>
                    <a:pt x="0" y="146"/>
                    <a:pt x="1" y="14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3" y="2"/>
                    <a:pt x="46" y="0"/>
                    <a:pt x="50" y="1"/>
                  </a:cubicBezTo>
                  <a:cubicBezTo>
                    <a:pt x="53" y="2"/>
                    <a:pt x="55" y="5"/>
                    <a:pt x="54" y="8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2" y="57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9"/>
                    <a:pt x="9" y="151"/>
                    <a:pt x="7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Browallia New" panose="020B0502040204020203" pitchFamily="34" charset="-34"/>
                <a:cs typeface="Browallia New" panose="020B0502040204020203" pitchFamily="34" charset="-3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5627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A1B7C-A97C-DEFE-81B2-BB84CDAA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14" y="533431"/>
            <a:ext cx="11617788" cy="356467"/>
          </a:xfrm>
        </p:spPr>
        <p:txBody>
          <a:bodyPr/>
          <a:lstStyle/>
          <a:p>
            <a:r>
              <a:rPr lang="en-GB" b="0">
                <a:solidFill>
                  <a:schemeClr val="accent1"/>
                </a:solidFill>
              </a:rPr>
              <a:t>EU Stakeholder Involvement for </a:t>
            </a:r>
            <a:r>
              <a:rPr lang="en-GB" b="0" err="1">
                <a:solidFill>
                  <a:schemeClr val="accent1"/>
                </a:solidFill>
              </a:rPr>
              <a:t>Capacitypedia</a:t>
            </a:r>
            <a:r>
              <a:rPr lang="en-GB" b="0">
                <a:solidFill>
                  <a:schemeClr val="accent1"/>
                </a:solidFill>
              </a:rPr>
              <a:t> and Information Portal &amp; Indicative Timelin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E490A90-48F3-BFEE-FBDA-29BE83782765}"/>
              </a:ext>
            </a:extLst>
          </p:cNvPr>
          <p:cNvGrpSpPr/>
          <p:nvPr/>
        </p:nvGrpSpPr>
        <p:grpSpPr>
          <a:xfrm>
            <a:off x="-1525669" y="1206438"/>
            <a:ext cx="13646331" cy="5118131"/>
            <a:chOff x="233814" y="1443915"/>
            <a:chExt cx="11855972" cy="4748737"/>
          </a:xfrm>
        </p:grpSpPr>
        <p:cxnSp>
          <p:nvCxnSpPr>
            <p:cNvPr id="18" name="Gerader Verbinder 79">
              <a:extLst>
                <a:ext uri="{FF2B5EF4-FFF2-40B4-BE49-F238E27FC236}">
                  <a16:creationId xmlns:a16="http://schemas.microsoft.com/office/drawing/2014/main" id="{6FBCD60B-D401-C65B-2C11-378370016AA4}"/>
                </a:ext>
              </a:extLst>
            </p:cNvPr>
            <p:cNvCxnSpPr>
              <a:cxnSpLocks/>
            </p:cNvCxnSpPr>
            <p:nvPr/>
          </p:nvCxnSpPr>
          <p:spPr>
            <a:xfrm>
              <a:off x="11684080" y="1561674"/>
              <a:ext cx="0" cy="3848152"/>
            </a:xfrm>
            <a:prstGeom prst="line">
              <a:avLst/>
            </a:prstGeom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90">
              <a:extLst>
                <a:ext uri="{FF2B5EF4-FFF2-40B4-BE49-F238E27FC236}">
                  <a16:creationId xmlns:a16="http://schemas.microsoft.com/office/drawing/2014/main" id="{645A52C2-9CD4-158B-A186-08EAB0CA63DB}"/>
                </a:ext>
              </a:extLst>
            </p:cNvPr>
            <p:cNvCxnSpPr>
              <a:cxnSpLocks/>
            </p:cNvCxnSpPr>
            <p:nvPr/>
          </p:nvCxnSpPr>
          <p:spPr>
            <a:xfrm>
              <a:off x="3485825" y="2334084"/>
              <a:ext cx="0" cy="3096000"/>
            </a:xfrm>
            <a:prstGeom prst="line">
              <a:avLst/>
            </a:prstGeom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90">
              <a:extLst>
                <a:ext uri="{FF2B5EF4-FFF2-40B4-BE49-F238E27FC236}">
                  <a16:creationId xmlns:a16="http://schemas.microsoft.com/office/drawing/2014/main" id="{DD760341-5BB2-22A6-5407-984F5AB7DA25}"/>
                </a:ext>
              </a:extLst>
            </p:cNvPr>
            <p:cNvCxnSpPr>
              <a:cxnSpLocks/>
            </p:cNvCxnSpPr>
            <p:nvPr/>
          </p:nvCxnSpPr>
          <p:spPr>
            <a:xfrm>
              <a:off x="5124329" y="2334084"/>
              <a:ext cx="0" cy="3096000"/>
            </a:xfrm>
            <a:prstGeom prst="line">
              <a:avLst/>
            </a:prstGeom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90">
              <a:extLst>
                <a:ext uri="{FF2B5EF4-FFF2-40B4-BE49-F238E27FC236}">
                  <a16:creationId xmlns:a16="http://schemas.microsoft.com/office/drawing/2014/main" id="{25007C44-D852-3A71-7C82-A24FC49746F0}"/>
                </a:ext>
              </a:extLst>
            </p:cNvPr>
            <p:cNvCxnSpPr>
              <a:cxnSpLocks/>
            </p:cNvCxnSpPr>
            <p:nvPr/>
          </p:nvCxnSpPr>
          <p:spPr>
            <a:xfrm>
              <a:off x="6762834" y="2334084"/>
              <a:ext cx="0" cy="3096000"/>
            </a:xfrm>
            <a:prstGeom prst="line">
              <a:avLst/>
            </a:prstGeom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90">
              <a:extLst>
                <a:ext uri="{FF2B5EF4-FFF2-40B4-BE49-F238E27FC236}">
                  <a16:creationId xmlns:a16="http://schemas.microsoft.com/office/drawing/2014/main" id="{CE74544C-7836-5AA8-C5F6-CB440FC70821}"/>
                </a:ext>
              </a:extLst>
            </p:cNvPr>
            <p:cNvCxnSpPr>
              <a:cxnSpLocks/>
            </p:cNvCxnSpPr>
            <p:nvPr/>
          </p:nvCxnSpPr>
          <p:spPr>
            <a:xfrm>
              <a:off x="8401338" y="2334084"/>
              <a:ext cx="0" cy="3096000"/>
            </a:xfrm>
            <a:prstGeom prst="line">
              <a:avLst/>
            </a:prstGeom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90">
              <a:extLst>
                <a:ext uri="{FF2B5EF4-FFF2-40B4-BE49-F238E27FC236}">
                  <a16:creationId xmlns:a16="http://schemas.microsoft.com/office/drawing/2014/main" id="{7393BF2D-4F31-C764-F69E-324D45A3C2BA}"/>
                </a:ext>
              </a:extLst>
            </p:cNvPr>
            <p:cNvCxnSpPr>
              <a:cxnSpLocks/>
            </p:cNvCxnSpPr>
            <p:nvPr/>
          </p:nvCxnSpPr>
          <p:spPr>
            <a:xfrm>
              <a:off x="3079168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90">
              <a:extLst>
                <a:ext uri="{FF2B5EF4-FFF2-40B4-BE49-F238E27FC236}">
                  <a16:creationId xmlns:a16="http://schemas.microsoft.com/office/drawing/2014/main" id="{A7060B9E-3883-81DC-598E-ECDD519070FF}"/>
                </a:ext>
              </a:extLst>
            </p:cNvPr>
            <p:cNvCxnSpPr>
              <a:cxnSpLocks/>
            </p:cNvCxnSpPr>
            <p:nvPr/>
          </p:nvCxnSpPr>
          <p:spPr>
            <a:xfrm>
              <a:off x="2649453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90">
              <a:extLst>
                <a:ext uri="{FF2B5EF4-FFF2-40B4-BE49-F238E27FC236}">
                  <a16:creationId xmlns:a16="http://schemas.microsoft.com/office/drawing/2014/main" id="{C1166F0D-625D-3BF7-69AB-A3803E86298B}"/>
                </a:ext>
              </a:extLst>
            </p:cNvPr>
            <p:cNvCxnSpPr>
              <a:cxnSpLocks/>
            </p:cNvCxnSpPr>
            <p:nvPr/>
          </p:nvCxnSpPr>
          <p:spPr>
            <a:xfrm>
              <a:off x="2238788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90">
              <a:extLst>
                <a:ext uri="{FF2B5EF4-FFF2-40B4-BE49-F238E27FC236}">
                  <a16:creationId xmlns:a16="http://schemas.microsoft.com/office/drawing/2014/main" id="{C892C96C-4EDA-03EE-0706-97AA2D258132}"/>
                </a:ext>
              </a:extLst>
            </p:cNvPr>
            <p:cNvCxnSpPr>
              <a:cxnSpLocks/>
            </p:cNvCxnSpPr>
            <p:nvPr/>
          </p:nvCxnSpPr>
          <p:spPr>
            <a:xfrm>
              <a:off x="4702778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90">
              <a:extLst>
                <a:ext uri="{FF2B5EF4-FFF2-40B4-BE49-F238E27FC236}">
                  <a16:creationId xmlns:a16="http://schemas.microsoft.com/office/drawing/2014/main" id="{B79619B7-7741-24BF-FA0A-48CE3E9E1B42}"/>
                </a:ext>
              </a:extLst>
            </p:cNvPr>
            <p:cNvCxnSpPr>
              <a:cxnSpLocks/>
            </p:cNvCxnSpPr>
            <p:nvPr/>
          </p:nvCxnSpPr>
          <p:spPr>
            <a:xfrm>
              <a:off x="4292113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90">
              <a:extLst>
                <a:ext uri="{FF2B5EF4-FFF2-40B4-BE49-F238E27FC236}">
                  <a16:creationId xmlns:a16="http://schemas.microsoft.com/office/drawing/2014/main" id="{E651CB59-FEAE-F467-2AF8-B47362A8D1E7}"/>
                </a:ext>
              </a:extLst>
            </p:cNvPr>
            <p:cNvCxnSpPr>
              <a:cxnSpLocks/>
            </p:cNvCxnSpPr>
            <p:nvPr/>
          </p:nvCxnSpPr>
          <p:spPr>
            <a:xfrm>
              <a:off x="3879046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90">
              <a:extLst>
                <a:ext uri="{FF2B5EF4-FFF2-40B4-BE49-F238E27FC236}">
                  <a16:creationId xmlns:a16="http://schemas.microsoft.com/office/drawing/2014/main" id="{5A5DF8F9-7EDD-83A2-FB66-08911EA16481}"/>
                </a:ext>
              </a:extLst>
            </p:cNvPr>
            <p:cNvCxnSpPr>
              <a:cxnSpLocks/>
            </p:cNvCxnSpPr>
            <p:nvPr/>
          </p:nvCxnSpPr>
          <p:spPr>
            <a:xfrm>
              <a:off x="6345438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90">
              <a:extLst>
                <a:ext uri="{FF2B5EF4-FFF2-40B4-BE49-F238E27FC236}">
                  <a16:creationId xmlns:a16="http://schemas.microsoft.com/office/drawing/2014/main" id="{819EA036-18BC-D217-83D7-A936200AE7C5}"/>
                </a:ext>
              </a:extLst>
            </p:cNvPr>
            <p:cNvCxnSpPr>
              <a:cxnSpLocks/>
            </p:cNvCxnSpPr>
            <p:nvPr/>
          </p:nvCxnSpPr>
          <p:spPr>
            <a:xfrm>
              <a:off x="5934773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90">
              <a:extLst>
                <a:ext uri="{FF2B5EF4-FFF2-40B4-BE49-F238E27FC236}">
                  <a16:creationId xmlns:a16="http://schemas.microsoft.com/office/drawing/2014/main" id="{D6A4F75A-5000-6657-0CA2-C60782212DC1}"/>
                </a:ext>
              </a:extLst>
            </p:cNvPr>
            <p:cNvCxnSpPr>
              <a:cxnSpLocks/>
            </p:cNvCxnSpPr>
            <p:nvPr/>
          </p:nvCxnSpPr>
          <p:spPr>
            <a:xfrm>
              <a:off x="5524108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90">
              <a:extLst>
                <a:ext uri="{FF2B5EF4-FFF2-40B4-BE49-F238E27FC236}">
                  <a16:creationId xmlns:a16="http://schemas.microsoft.com/office/drawing/2014/main" id="{C4AB9C71-7912-4CCB-92A7-DBCE9D873B0D}"/>
                </a:ext>
              </a:extLst>
            </p:cNvPr>
            <p:cNvCxnSpPr>
              <a:cxnSpLocks/>
            </p:cNvCxnSpPr>
            <p:nvPr/>
          </p:nvCxnSpPr>
          <p:spPr>
            <a:xfrm>
              <a:off x="7988098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90">
              <a:extLst>
                <a:ext uri="{FF2B5EF4-FFF2-40B4-BE49-F238E27FC236}">
                  <a16:creationId xmlns:a16="http://schemas.microsoft.com/office/drawing/2014/main" id="{3BA086C6-E35C-CA45-104D-15675605D515}"/>
                </a:ext>
              </a:extLst>
            </p:cNvPr>
            <p:cNvCxnSpPr>
              <a:cxnSpLocks/>
            </p:cNvCxnSpPr>
            <p:nvPr/>
          </p:nvCxnSpPr>
          <p:spPr>
            <a:xfrm>
              <a:off x="7577433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90">
              <a:extLst>
                <a:ext uri="{FF2B5EF4-FFF2-40B4-BE49-F238E27FC236}">
                  <a16:creationId xmlns:a16="http://schemas.microsoft.com/office/drawing/2014/main" id="{22F9542E-72DA-F6CC-6316-2A94ACDC2843}"/>
                </a:ext>
              </a:extLst>
            </p:cNvPr>
            <p:cNvCxnSpPr>
              <a:cxnSpLocks/>
            </p:cNvCxnSpPr>
            <p:nvPr/>
          </p:nvCxnSpPr>
          <p:spPr>
            <a:xfrm>
              <a:off x="7166768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90">
              <a:extLst>
                <a:ext uri="{FF2B5EF4-FFF2-40B4-BE49-F238E27FC236}">
                  <a16:creationId xmlns:a16="http://schemas.microsoft.com/office/drawing/2014/main" id="{5C49D364-29E7-1421-CFB2-C80FD969D8C5}"/>
                </a:ext>
              </a:extLst>
            </p:cNvPr>
            <p:cNvCxnSpPr>
              <a:cxnSpLocks/>
            </p:cNvCxnSpPr>
            <p:nvPr/>
          </p:nvCxnSpPr>
          <p:spPr>
            <a:xfrm>
              <a:off x="9630758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90">
              <a:extLst>
                <a:ext uri="{FF2B5EF4-FFF2-40B4-BE49-F238E27FC236}">
                  <a16:creationId xmlns:a16="http://schemas.microsoft.com/office/drawing/2014/main" id="{1D24364E-5667-28B1-F2E6-EC5EB9761179}"/>
                </a:ext>
              </a:extLst>
            </p:cNvPr>
            <p:cNvCxnSpPr>
              <a:cxnSpLocks/>
            </p:cNvCxnSpPr>
            <p:nvPr/>
          </p:nvCxnSpPr>
          <p:spPr>
            <a:xfrm>
              <a:off x="8892835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90">
              <a:extLst>
                <a:ext uri="{FF2B5EF4-FFF2-40B4-BE49-F238E27FC236}">
                  <a16:creationId xmlns:a16="http://schemas.microsoft.com/office/drawing/2014/main" id="{C274C7C2-AB2C-974F-B906-96F12E3F60E8}"/>
                </a:ext>
              </a:extLst>
            </p:cNvPr>
            <p:cNvCxnSpPr>
              <a:cxnSpLocks/>
            </p:cNvCxnSpPr>
            <p:nvPr/>
          </p:nvCxnSpPr>
          <p:spPr>
            <a:xfrm>
              <a:off x="8662321" y="2962753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90">
              <a:extLst>
                <a:ext uri="{FF2B5EF4-FFF2-40B4-BE49-F238E27FC236}">
                  <a16:creationId xmlns:a16="http://schemas.microsoft.com/office/drawing/2014/main" id="{5C2F70AE-353A-2975-6DFC-CB9D88D47F33}"/>
                </a:ext>
              </a:extLst>
            </p:cNvPr>
            <p:cNvCxnSpPr>
              <a:cxnSpLocks/>
            </p:cNvCxnSpPr>
            <p:nvPr/>
          </p:nvCxnSpPr>
          <p:spPr>
            <a:xfrm>
              <a:off x="11273418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90">
              <a:extLst>
                <a:ext uri="{FF2B5EF4-FFF2-40B4-BE49-F238E27FC236}">
                  <a16:creationId xmlns:a16="http://schemas.microsoft.com/office/drawing/2014/main" id="{191BBF8E-2160-087A-4613-3449F73276D5}"/>
                </a:ext>
              </a:extLst>
            </p:cNvPr>
            <p:cNvCxnSpPr>
              <a:cxnSpLocks/>
            </p:cNvCxnSpPr>
            <p:nvPr/>
          </p:nvCxnSpPr>
          <p:spPr>
            <a:xfrm>
              <a:off x="10862753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90">
              <a:extLst>
                <a:ext uri="{FF2B5EF4-FFF2-40B4-BE49-F238E27FC236}">
                  <a16:creationId xmlns:a16="http://schemas.microsoft.com/office/drawing/2014/main" id="{1E2E7CB7-0DBA-A758-BD3E-09CA4E5D82AF}"/>
                </a:ext>
              </a:extLst>
            </p:cNvPr>
            <p:cNvCxnSpPr>
              <a:cxnSpLocks/>
            </p:cNvCxnSpPr>
            <p:nvPr/>
          </p:nvCxnSpPr>
          <p:spPr>
            <a:xfrm>
              <a:off x="10449469" y="2334084"/>
              <a:ext cx="0" cy="3096000"/>
            </a:xfrm>
            <a:prstGeom prst="line">
              <a:avLst/>
            </a:prstGeom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hteck 40">
              <a:extLst>
                <a:ext uri="{FF2B5EF4-FFF2-40B4-BE49-F238E27FC236}">
                  <a16:creationId xmlns:a16="http://schemas.microsoft.com/office/drawing/2014/main" id="{F5E92FD9-B7B4-E03A-3992-717E4B7C345C}"/>
                </a:ext>
              </a:extLst>
            </p:cNvPr>
            <p:cNvSpPr/>
            <p:nvPr/>
          </p:nvSpPr>
          <p:spPr>
            <a:xfrm>
              <a:off x="1955559" y="1726837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July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9B94BE43-41A4-7435-17E1-A30FD45C3795}"/>
                </a:ext>
              </a:extLst>
            </p:cNvPr>
            <p:cNvSpPr/>
            <p:nvPr/>
          </p:nvSpPr>
          <p:spPr>
            <a:xfrm>
              <a:off x="4395796" y="1443915"/>
              <a:ext cx="4865126" cy="257442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</a:t>
              </a:r>
              <a:r>
                <a:rPr lang="en-US" sz="1200">
                  <a:solidFill>
                    <a:srgbClr val="FFFFFF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Rechteck 42">
              <a:extLst>
                <a:ext uri="{FF2B5EF4-FFF2-40B4-BE49-F238E27FC236}">
                  <a16:creationId xmlns:a16="http://schemas.microsoft.com/office/drawing/2014/main" id="{AABA857B-F9C8-F547-9902-DEC64A59ED59}"/>
                </a:ext>
              </a:extLst>
            </p:cNvPr>
            <p:cNvSpPr/>
            <p:nvPr/>
          </p:nvSpPr>
          <p:spPr>
            <a:xfrm>
              <a:off x="9278844" y="1447369"/>
              <a:ext cx="2423439" cy="250535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6</a:t>
              </a:r>
            </a:p>
          </p:txBody>
        </p:sp>
        <p:sp>
          <p:nvSpPr>
            <p:cNvPr id="46" name="Raute 61">
              <a:extLst>
                <a:ext uri="{FF2B5EF4-FFF2-40B4-BE49-F238E27FC236}">
                  <a16:creationId xmlns:a16="http://schemas.microsoft.com/office/drawing/2014/main" id="{55FA4E4D-8812-4CB2-DB8A-F72086C778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00763" y="2306074"/>
              <a:ext cx="313196" cy="292290"/>
            </a:xfrm>
            <a:prstGeom prst="diamond">
              <a:avLst/>
            </a:prstGeom>
            <a:solidFill>
              <a:schemeClr val="bg1"/>
            </a:solidFill>
            <a:ln w="31750">
              <a:solidFill>
                <a:schemeClr val="accent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Raute 61">
              <a:extLst>
                <a:ext uri="{FF2B5EF4-FFF2-40B4-BE49-F238E27FC236}">
                  <a16:creationId xmlns:a16="http://schemas.microsoft.com/office/drawing/2014/main" id="{83909829-9F4B-623F-3554-27176EB930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23282" y="2357195"/>
              <a:ext cx="313196" cy="292290"/>
            </a:xfrm>
            <a:prstGeom prst="diamond">
              <a:avLst/>
            </a:prstGeom>
            <a:solidFill>
              <a:schemeClr val="bg1"/>
            </a:solidFill>
            <a:ln w="317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Rechteck 40">
              <a:extLst>
                <a:ext uri="{FF2B5EF4-FFF2-40B4-BE49-F238E27FC236}">
                  <a16:creationId xmlns:a16="http://schemas.microsoft.com/office/drawing/2014/main" id="{ECF93D00-AB2D-8BEE-68D9-E52834F4D623}"/>
                </a:ext>
              </a:extLst>
            </p:cNvPr>
            <p:cNvSpPr/>
            <p:nvPr/>
          </p:nvSpPr>
          <p:spPr>
            <a:xfrm>
              <a:off x="2768971" y="1726837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ptember</a:t>
              </a:r>
            </a:p>
          </p:txBody>
        </p:sp>
        <p:sp>
          <p:nvSpPr>
            <p:cNvPr id="62" name="Rechteck 40">
              <a:extLst>
                <a:ext uri="{FF2B5EF4-FFF2-40B4-BE49-F238E27FC236}">
                  <a16:creationId xmlns:a16="http://schemas.microsoft.com/office/drawing/2014/main" id="{09BD26E2-9331-64C0-08F1-EB580D473738}"/>
                </a:ext>
              </a:extLst>
            </p:cNvPr>
            <p:cNvSpPr/>
            <p:nvPr/>
          </p:nvSpPr>
          <p:spPr>
            <a:xfrm>
              <a:off x="3582383" y="1727034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ovember</a:t>
              </a:r>
            </a:p>
          </p:txBody>
        </p:sp>
        <p:sp>
          <p:nvSpPr>
            <p:cNvPr id="63" name="Rechteck 40">
              <a:extLst>
                <a:ext uri="{FF2B5EF4-FFF2-40B4-BE49-F238E27FC236}">
                  <a16:creationId xmlns:a16="http://schemas.microsoft.com/office/drawing/2014/main" id="{B1EF1498-FCE8-B523-61EF-F5E687BD0353}"/>
                </a:ext>
              </a:extLst>
            </p:cNvPr>
            <p:cNvSpPr/>
            <p:nvPr/>
          </p:nvSpPr>
          <p:spPr>
            <a:xfrm>
              <a:off x="4395795" y="1727034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>
                  <a:solidFill>
                    <a:srgbClr val="FFFFFF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January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Rechteck 40">
              <a:extLst>
                <a:ext uri="{FF2B5EF4-FFF2-40B4-BE49-F238E27FC236}">
                  <a16:creationId xmlns:a16="http://schemas.microsoft.com/office/drawing/2014/main" id="{B8E1F498-192F-AAF7-09C7-B5741E5690D3}"/>
                </a:ext>
              </a:extLst>
            </p:cNvPr>
            <p:cNvSpPr/>
            <p:nvPr/>
          </p:nvSpPr>
          <p:spPr>
            <a:xfrm>
              <a:off x="5209207" y="1722018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rch</a:t>
              </a:r>
            </a:p>
          </p:txBody>
        </p:sp>
        <p:sp>
          <p:nvSpPr>
            <p:cNvPr id="65" name="Rechteck 40">
              <a:extLst>
                <a:ext uri="{FF2B5EF4-FFF2-40B4-BE49-F238E27FC236}">
                  <a16:creationId xmlns:a16="http://schemas.microsoft.com/office/drawing/2014/main" id="{C03E01ED-F6F0-7900-AA31-256E6C5A786B}"/>
                </a:ext>
              </a:extLst>
            </p:cNvPr>
            <p:cNvSpPr/>
            <p:nvPr/>
          </p:nvSpPr>
          <p:spPr>
            <a:xfrm>
              <a:off x="6022619" y="1722018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y</a:t>
              </a:r>
            </a:p>
          </p:txBody>
        </p:sp>
        <p:sp>
          <p:nvSpPr>
            <p:cNvPr id="66" name="Rechteck 40">
              <a:extLst>
                <a:ext uri="{FF2B5EF4-FFF2-40B4-BE49-F238E27FC236}">
                  <a16:creationId xmlns:a16="http://schemas.microsoft.com/office/drawing/2014/main" id="{03151D92-BCF0-E52E-18C5-B7E032409AE8}"/>
                </a:ext>
              </a:extLst>
            </p:cNvPr>
            <p:cNvSpPr/>
            <p:nvPr/>
          </p:nvSpPr>
          <p:spPr>
            <a:xfrm>
              <a:off x="6836031" y="1722215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July</a:t>
              </a:r>
            </a:p>
          </p:txBody>
        </p:sp>
        <p:sp>
          <p:nvSpPr>
            <p:cNvPr id="67" name="Rechteck 40">
              <a:extLst>
                <a:ext uri="{FF2B5EF4-FFF2-40B4-BE49-F238E27FC236}">
                  <a16:creationId xmlns:a16="http://schemas.microsoft.com/office/drawing/2014/main" id="{51547CA3-4312-664B-6D54-5A9E8962DCF2}"/>
                </a:ext>
              </a:extLst>
            </p:cNvPr>
            <p:cNvSpPr/>
            <p:nvPr/>
          </p:nvSpPr>
          <p:spPr>
            <a:xfrm>
              <a:off x="7649443" y="1722215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ptember</a:t>
              </a:r>
            </a:p>
          </p:txBody>
        </p:sp>
        <p:sp>
          <p:nvSpPr>
            <p:cNvPr id="68" name="Rechteck 40">
              <a:extLst>
                <a:ext uri="{FF2B5EF4-FFF2-40B4-BE49-F238E27FC236}">
                  <a16:creationId xmlns:a16="http://schemas.microsoft.com/office/drawing/2014/main" id="{3DE0C23D-61B3-E8F6-DCCF-742F33AC2B87}"/>
                </a:ext>
              </a:extLst>
            </p:cNvPr>
            <p:cNvSpPr/>
            <p:nvPr/>
          </p:nvSpPr>
          <p:spPr>
            <a:xfrm>
              <a:off x="8462855" y="1722488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>
                  <a:solidFill>
                    <a:srgbClr val="FFFFFF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ovember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Rechteck 40">
              <a:extLst>
                <a:ext uri="{FF2B5EF4-FFF2-40B4-BE49-F238E27FC236}">
                  <a16:creationId xmlns:a16="http://schemas.microsoft.com/office/drawing/2014/main" id="{BF0C7E41-E773-7D7B-4F63-7A9026A73B15}"/>
                </a:ext>
              </a:extLst>
            </p:cNvPr>
            <p:cNvSpPr/>
            <p:nvPr/>
          </p:nvSpPr>
          <p:spPr>
            <a:xfrm>
              <a:off x="9276267" y="1722488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January</a:t>
              </a:r>
            </a:p>
          </p:txBody>
        </p:sp>
        <p:sp>
          <p:nvSpPr>
            <p:cNvPr id="70" name="Rechteck 40">
              <a:extLst>
                <a:ext uri="{FF2B5EF4-FFF2-40B4-BE49-F238E27FC236}">
                  <a16:creationId xmlns:a16="http://schemas.microsoft.com/office/drawing/2014/main" id="{66CA0111-AEF9-670A-C5D1-1CF21738850E}"/>
                </a:ext>
              </a:extLst>
            </p:cNvPr>
            <p:cNvSpPr/>
            <p:nvPr/>
          </p:nvSpPr>
          <p:spPr>
            <a:xfrm>
              <a:off x="10089679" y="1722685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rch</a:t>
              </a:r>
            </a:p>
          </p:txBody>
        </p:sp>
        <p:sp>
          <p:nvSpPr>
            <p:cNvPr id="71" name="Rechteck 40">
              <a:extLst>
                <a:ext uri="{FF2B5EF4-FFF2-40B4-BE49-F238E27FC236}">
                  <a16:creationId xmlns:a16="http://schemas.microsoft.com/office/drawing/2014/main" id="{EA911CBE-B24F-2067-BC5B-7A2DFF5C81AD}"/>
                </a:ext>
              </a:extLst>
            </p:cNvPr>
            <p:cNvSpPr/>
            <p:nvPr/>
          </p:nvSpPr>
          <p:spPr>
            <a:xfrm>
              <a:off x="10903096" y="1722685"/>
              <a:ext cx="792000" cy="251107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y</a:t>
              </a:r>
            </a:p>
          </p:txBody>
        </p:sp>
        <p:sp>
          <p:nvSpPr>
            <p:cNvPr id="72" name="Raute 61">
              <a:extLst>
                <a:ext uri="{FF2B5EF4-FFF2-40B4-BE49-F238E27FC236}">
                  <a16:creationId xmlns:a16="http://schemas.microsoft.com/office/drawing/2014/main" id="{6B88BC0D-DD9B-2BB2-CD7C-F232B131FB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75981" y="2290013"/>
              <a:ext cx="313196" cy="292290"/>
            </a:xfrm>
            <a:prstGeom prst="diamond">
              <a:avLst/>
            </a:prstGeom>
            <a:solidFill>
              <a:schemeClr val="bg1"/>
            </a:solidFill>
            <a:ln w="317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75" name="Gerader Verbinder 90">
              <a:extLst>
                <a:ext uri="{FF2B5EF4-FFF2-40B4-BE49-F238E27FC236}">
                  <a16:creationId xmlns:a16="http://schemas.microsoft.com/office/drawing/2014/main" id="{AD7DCE7D-FC13-9083-7C48-3EB573CC3EC1}"/>
                </a:ext>
              </a:extLst>
            </p:cNvPr>
            <p:cNvCxnSpPr>
              <a:cxnSpLocks/>
            </p:cNvCxnSpPr>
            <p:nvPr/>
          </p:nvCxnSpPr>
          <p:spPr>
            <a:xfrm>
              <a:off x="10041419" y="2334084"/>
              <a:ext cx="0" cy="3096000"/>
            </a:xfrm>
            <a:prstGeom prst="line">
              <a:avLst/>
            </a:prstGeom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Raute 61">
              <a:extLst>
                <a:ext uri="{FF2B5EF4-FFF2-40B4-BE49-F238E27FC236}">
                  <a16:creationId xmlns:a16="http://schemas.microsoft.com/office/drawing/2014/main" id="{8C33039F-CAD6-9849-DAA6-918366AA59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95107" y="2327844"/>
              <a:ext cx="313196" cy="292290"/>
            </a:xfrm>
            <a:prstGeom prst="diamond">
              <a:avLst/>
            </a:prstGeom>
            <a:solidFill>
              <a:schemeClr val="bg1"/>
            </a:solidFill>
            <a:ln w="317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82" name="Gerader Verbinder 85">
              <a:extLst>
                <a:ext uri="{FF2B5EF4-FFF2-40B4-BE49-F238E27FC236}">
                  <a16:creationId xmlns:a16="http://schemas.microsoft.com/office/drawing/2014/main" id="{617E6219-2ACC-2263-0AD8-AB726E98C6CA}"/>
                </a:ext>
              </a:extLst>
            </p:cNvPr>
            <p:cNvCxnSpPr>
              <a:cxnSpLocks/>
            </p:cNvCxnSpPr>
            <p:nvPr/>
          </p:nvCxnSpPr>
          <p:spPr>
            <a:xfrm>
              <a:off x="6632579" y="2591093"/>
              <a:ext cx="0" cy="32400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5">
              <a:extLst>
                <a:ext uri="{FF2B5EF4-FFF2-40B4-BE49-F238E27FC236}">
                  <a16:creationId xmlns:a16="http://schemas.microsoft.com/office/drawing/2014/main" id="{1BA97EB1-EA31-1840-A776-EEA1D7387097}"/>
                </a:ext>
              </a:extLst>
            </p:cNvPr>
            <p:cNvCxnSpPr>
              <a:cxnSpLocks/>
            </p:cNvCxnSpPr>
            <p:nvPr/>
          </p:nvCxnSpPr>
          <p:spPr>
            <a:xfrm>
              <a:off x="3466279" y="2624483"/>
              <a:ext cx="0" cy="320971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Rechteck 42">
              <a:extLst>
                <a:ext uri="{FF2B5EF4-FFF2-40B4-BE49-F238E27FC236}">
                  <a16:creationId xmlns:a16="http://schemas.microsoft.com/office/drawing/2014/main" id="{22E89F75-4467-AAED-3108-87DB896A7108}"/>
                </a:ext>
              </a:extLst>
            </p:cNvPr>
            <p:cNvSpPr/>
            <p:nvPr/>
          </p:nvSpPr>
          <p:spPr>
            <a:xfrm>
              <a:off x="1953251" y="1447369"/>
              <a:ext cx="2423439" cy="250535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4</a:t>
              </a:r>
            </a:p>
          </p:txBody>
        </p:sp>
        <p:sp>
          <p:nvSpPr>
            <p:cNvPr id="86" name="Textfeld 40">
              <a:extLst>
                <a:ext uri="{FF2B5EF4-FFF2-40B4-BE49-F238E27FC236}">
                  <a16:creationId xmlns:a16="http://schemas.microsoft.com/office/drawing/2014/main" id="{8EE0508F-472A-A6B5-D39D-81D393B7C501}"/>
                </a:ext>
              </a:extLst>
            </p:cNvPr>
            <p:cNvSpPr txBox="1"/>
            <p:nvPr/>
          </p:nvSpPr>
          <p:spPr>
            <a:xfrm>
              <a:off x="2425209" y="2652765"/>
              <a:ext cx="975208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Kickoff Joint TF</a:t>
              </a:r>
            </a:p>
          </p:txBody>
        </p:sp>
        <p:sp>
          <p:nvSpPr>
            <p:cNvPr id="87" name="Textfeld 40">
              <a:extLst>
                <a:ext uri="{FF2B5EF4-FFF2-40B4-BE49-F238E27FC236}">
                  <a16:creationId xmlns:a16="http://schemas.microsoft.com/office/drawing/2014/main" id="{18D8F953-79C9-BC57-8710-26901C25BD82}"/>
                </a:ext>
              </a:extLst>
            </p:cNvPr>
            <p:cNvSpPr txBox="1"/>
            <p:nvPr/>
          </p:nvSpPr>
          <p:spPr>
            <a:xfrm>
              <a:off x="3544394" y="2630855"/>
              <a:ext cx="975208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Kickoff with EC</a:t>
              </a:r>
            </a:p>
          </p:txBody>
        </p:sp>
        <p:cxnSp>
          <p:nvCxnSpPr>
            <p:cNvPr id="88" name="Gerader Verbinder 85">
              <a:extLst>
                <a:ext uri="{FF2B5EF4-FFF2-40B4-BE49-F238E27FC236}">
                  <a16:creationId xmlns:a16="http://schemas.microsoft.com/office/drawing/2014/main" id="{0207FEA7-779E-6F20-46E6-1940E838F5D3}"/>
                </a:ext>
              </a:extLst>
            </p:cNvPr>
            <p:cNvCxnSpPr>
              <a:cxnSpLocks/>
            </p:cNvCxnSpPr>
            <p:nvPr/>
          </p:nvCxnSpPr>
          <p:spPr>
            <a:xfrm>
              <a:off x="2379880" y="2646359"/>
              <a:ext cx="0" cy="32400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feld 40">
              <a:extLst>
                <a:ext uri="{FF2B5EF4-FFF2-40B4-BE49-F238E27FC236}">
                  <a16:creationId xmlns:a16="http://schemas.microsoft.com/office/drawing/2014/main" id="{AE01847D-47A8-745F-0838-176C2A5FA1E2}"/>
                </a:ext>
              </a:extLst>
            </p:cNvPr>
            <p:cNvSpPr txBox="1"/>
            <p:nvPr/>
          </p:nvSpPr>
          <p:spPr>
            <a:xfrm>
              <a:off x="6764769" y="2640316"/>
              <a:ext cx="975208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d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takeholder </a:t>
              </a:r>
              <a:r>
                <a:rPr lang="en-US" sz="1200">
                  <a:solidFill>
                    <a:schemeClr val="accent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ebinar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92" name="Gerader Verbinder 85">
              <a:extLst>
                <a:ext uri="{FF2B5EF4-FFF2-40B4-BE49-F238E27FC236}">
                  <a16:creationId xmlns:a16="http://schemas.microsoft.com/office/drawing/2014/main" id="{0FF81BCF-7B42-FDE9-099E-D2664126B685}"/>
                </a:ext>
              </a:extLst>
            </p:cNvPr>
            <p:cNvCxnSpPr>
              <a:cxnSpLocks/>
            </p:cNvCxnSpPr>
            <p:nvPr/>
          </p:nvCxnSpPr>
          <p:spPr>
            <a:xfrm>
              <a:off x="8257360" y="2624483"/>
              <a:ext cx="0" cy="324000"/>
            </a:xfrm>
            <a:prstGeom prst="line">
              <a:avLst/>
            </a:prstGeom>
            <a:ln w="2857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feld 40">
              <a:extLst>
                <a:ext uri="{FF2B5EF4-FFF2-40B4-BE49-F238E27FC236}">
                  <a16:creationId xmlns:a16="http://schemas.microsoft.com/office/drawing/2014/main" id="{FC5B7338-9C38-24A3-1149-47A3EA183451}"/>
                </a:ext>
              </a:extLst>
            </p:cNvPr>
            <p:cNvSpPr txBox="1"/>
            <p:nvPr/>
          </p:nvSpPr>
          <p:spPr>
            <a:xfrm>
              <a:off x="8427259" y="2591923"/>
              <a:ext cx="97520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takeholder Meetings (tbc)</a:t>
              </a:r>
            </a:p>
          </p:txBody>
        </p:sp>
        <p:sp>
          <p:nvSpPr>
            <p:cNvPr id="3" name="TextBox 55">
              <a:extLst>
                <a:ext uri="{FF2B5EF4-FFF2-40B4-BE49-F238E27FC236}">
                  <a16:creationId xmlns:a16="http://schemas.microsoft.com/office/drawing/2014/main" id="{171E8CDB-5F77-9FEC-7238-2D9E569C3FBE}"/>
                </a:ext>
              </a:extLst>
            </p:cNvPr>
            <p:cNvSpPr txBox="1"/>
            <p:nvPr/>
          </p:nvSpPr>
          <p:spPr>
            <a:xfrm>
              <a:off x="233814" y="5352697"/>
              <a:ext cx="1976251" cy="839955"/>
            </a:xfrm>
            <a:prstGeom prst="rect">
              <a:avLst/>
            </a:prstGeom>
            <a:noFill/>
          </p:spPr>
          <p:txBody>
            <a:bodyPr wrap="square" lIns="7200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Rechteck 29">
              <a:extLst>
                <a:ext uri="{FF2B5EF4-FFF2-40B4-BE49-F238E27FC236}">
                  <a16:creationId xmlns:a16="http://schemas.microsoft.com/office/drawing/2014/main" id="{7DF7B9FD-12AA-280C-41DD-547337E2EE53}"/>
                </a:ext>
              </a:extLst>
            </p:cNvPr>
            <p:cNvSpPr/>
            <p:nvPr/>
          </p:nvSpPr>
          <p:spPr>
            <a:xfrm>
              <a:off x="2384713" y="5384377"/>
              <a:ext cx="7643406" cy="47254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3" name="Gerader Verbinder 85">
              <a:extLst>
                <a:ext uri="{FF2B5EF4-FFF2-40B4-BE49-F238E27FC236}">
                  <a16:creationId xmlns:a16="http://schemas.microsoft.com/office/drawing/2014/main" id="{F733EAC2-C761-3DB0-25D2-5FD07F6518CB}"/>
                </a:ext>
              </a:extLst>
            </p:cNvPr>
            <p:cNvCxnSpPr>
              <a:cxnSpLocks/>
            </p:cNvCxnSpPr>
            <p:nvPr/>
          </p:nvCxnSpPr>
          <p:spPr>
            <a:xfrm>
              <a:off x="10060574" y="5671071"/>
              <a:ext cx="0" cy="32400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hteck 29">
              <a:extLst>
                <a:ext uri="{FF2B5EF4-FFF2-40B4-BE49-F238E27FC236}">
                  <a16:creationId xmlns:a16="http://schemas.microsoft.com/office/drawing/2014/main" id="{C598BD84-D564-51F1-9502-1F56DA03B2C7}"/>
                </a:ext>
              </a:extLst>
            </p:cNvPr>
            <p:cNvSpPr/>
            <p:nvPr/>
          </p:nvSpPr>
          <p:spPr>
            <a:xfrm>
              <a:off x="10040895" y="5384377"/>
              <a:ext cx="1225415" cy="263158"/>
            </a:xfrm>
            <a:prstGeom prst="rect">
              <a:avLst/>
            </a:prstGeom>
            <a:pattFill prst="dkVert">
              <a:fgClr>
                <a:schemeClr val="accent3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Raute 61">
              <a:extLst>
                <a:ext uri="{FF2B5EF4-FFF2-40B4-BE49-F238E27FC236}">
                  <a16:creationId xmlns:a16="http://schemas.microsoft.com/office/drawing/2014/main" id="{AB78DD76-97BE-2DFC-BE74-3CDE792FCD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04321" y="5371790"/>
              <a:ext cx="313196" cy="292290"/>
            </a:xfrm>
            <a:prstGeom prst="diamond">
              <a:avLst/>
            </a:prstGeom>
            <a:solidFill>
              <a:schemeClr val="bg1"/>
            </a:soli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8" name="Raute 61">
              <a:extLst>
                <a:ext uri="{FF2B5EF4-FFF2-40B4-BE49-F238E27FC236}">
                  <a16:creationId xmlns:a16="http://schemas.microsoft.com/office/drawing/2014/main" id="{8C316F49-491A-FCA5-05AF-ED338D6ED4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19379" y="5343785"/>
              <a:ext cx="313196" cy="292290"/>
            </a:xfrm>
            <a:prstGeom prst="diamond">
              <a:avLst/>
            </a:prstGeom>
            <a:solidFill>
              <a:schemeClr val="bg1"/>
            </a:soli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99" name="Gerader Verbinder 85">
              <a:extLst>
                <a:ext uri="{FF2B5EF4-FFF2-40B4-BE49-F238E27FC236}">
                  <a16:creationId xmlns:a16="http://schemas.microsoft.com/office/drawing/2014/main" id="{1107E52B-BD5A-E42A-1719-1C0EB14CBDFC}"/>
                </a:ext>
              </a:extLst>
            </p:cNvPr>
            <p:cNvCxnSpPr>
              <a:cxnSpLocks/>
            </p:cNvCxnSpPr>
            <p:nvPr/>
          </p:nvCxnSpPr>
          <p:spPr>
            <a:xfrm>
              <a:off x="11279608" y="5636057"/>
              <a:ext cx="0" cy="32400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feld 40">
              <a:extLst>
                <a:ext uri="{FF2B5EF4-FFF2-40B4-BE49-F238E27FC236}">
                  <a16:creationId xmlns:a16="http://schemas.microsoft.com/office/drawing/2014/main" id="{1E7DCBA2-595E-B367-406C-9AA692A3AA2A}"/>
                </a:ext>
              </a:extLst>
            </p:cNvPr>
            <p:cNvSpPr txBox="1"/>
            <p:nvPr/>
          </p:nvSpPr>
          <p:spPr>
            <a:xfrm>
              <a:off x="11347970" y="5647535"/>
              <a:ext cx="741816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an-EU overview</a:t>
              </a:r>
            </a:p>
          </p:txBody>
        </p:sp>
        <p:sp>
          <p:nvSpPr>
            <p:cNvPr id="109" name="Textfeld 40">
              <a:extLst>
                <a:ext uri="{FF2B5EF4-FFF2-40B4-BE49-F238E27FC236}">
                  <a16:creationId xmlns:a16="http://schemas.microsoft.com/office/drawing/2014/main" id="{C588173C-C69B-3EB6-C695-270E905F06BE}"/>
                </a:ext>
              </a:extLst>
            </p:cNvPr>
            <p:cNvSpPr txBox="1"/>
            <p:nvPr/>
          </p:nvSpPr>
          <p:spPr>
            <a:xfrm>
              <a:off x="10133176" y="5672256"/>
              <a:ext cx="1040851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latform Go-live</a:t>
              </a:r>
            </a:p>
          </p:txBody>
        </p:sp>
        <p:sp>
          <p:nvSpPr>
            <p:cNvPr id="110" name="Raute 61">
              <a:extLst>
                <a:ext uri="{FF2B5EF4-FFF2-40B4-BE49-F238E27FC236}">
                  <a16:creationId xmlns:a16="http://schemas.microsoft.com/office/drawing/2014/main" id="{7E92D337-9994-D700-8E50-5CF74DC5CC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79523" y="2299762"/>
              <a:ext cx="313196" cy="292290"/>
            </a:xfrm>
            <a:prstGeom prst="diamond">
              <a:avLst/>
            </a:prstGeom>
            <a:solidFill>
              <a:schemeClr val="bg1"/>
            </a:solidFill>
            <a:ln w="317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11" name="Gerader Verbinder 85">
              <a:extLst>
                <a:ext uri="{FF2B5EF4-FFF2-40B4-BE49-F238E27FC236}">
                  <a16:creationId xmlns:a16="http://schemas.microsoft.com/office/drawing/2014/main" id="{05D08630-A265-FCB8-4C2C-4027FB9FF186}"/>
                </a:ext>
              </a:extLst>
            </p:cNvPr>
            <p:cNvCxnSpPr>
              <a:cxnSpLocks/>
            </p:cNvCxnSpPr>
            <p:nvPr/>
          </p:nvCxnSpPr>
          <p:spPr>
            <a:xfrm>
              <a:off x="5744389" y="2594122"/>
              <a:ext cx="0" cy="320971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feld 40">
              <a:extLst>
                <a:ext uri="{FF2B5EF4-FFF2-40B4-BE49-F238E27FC236}">
                  <a16:creationId xmlns:a16="http://schemas.microsoft.com/office/drawing/2014/main" id="{348C31DC-B6C8-7D82-A0EC-530C205378E2}"/>
                </a:ext>
              </a:extLst>
            </p:cNvPr>
            <p:cNvSpPr txBox="1"/>
            <p:nvPr/>
          </p:nvSpPr>
          <p:spPr>
            <a:xfrm>
              <a:off x="4763177" y="2624483"/>
              <a:ext cx="924746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t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takeholder Webinar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4A7C9B3F-EF72-6745-29FE-E7ABDF4C831A}"/>
              </a:ext>
            </a:extLst>
          </p:cNvPr>
          <p:cNvSpPr txBox="1"/>
          <p:nvPr/>
        </p:nvSpPr>
        <p:spPr>
          <a:xfrm>
            <a:off x="374160" y="3515275"/>
            <a:ext cx="14391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rgbClr val="C00000"/>
                </a:solidFill>
                <a:latin typeface="Franklin Gothic Medium Cond" panose="020B0606030402020204" pitchFamily="34" charset="0"/>
              </a:rPr>
              <a:t>Renewables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Wind Europe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Solar Power Europ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213DDB-6FB3-A73D-5805-D781C9F2806D}"/>
              </a:ext>
            </a:extLst>
          </p:cNvPr>
          <p:cNvSpPr txBox="1"/>
          <p:nvPr/>
        </p:nvSpPr>
        <p:spPr>
          <a:xfrm>
            <a:off x="1776984" y="3527271"/>
            <a:ext cx="15003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rgbClr val="C00000"/>
                </a:solidFill>
                <a:latin typeface="Franklin Gothic Medium Cond" panose="020B0606030402020204" pitchFamily="34" charset="0"/>
              </a:rPr>
              <a:t>Institutional</a:t>
            </a:r>
          </a:p>
          <a:p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European Commission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AC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AFDC607-4F5E-91EB-E6F2-96ACDBE5914D}"/>
              </a:ext>
            </a:extLst>
          </p:cNvPr>
          <p:cNvSpPr txBox="1"/>
          <p:nvPr/>
        </p:nvSpPr>
        <p:spPr>
          <a:xfrm>
            <a:off x="4211657" y="3136101"/>
            <a:ext cx="68214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>
                <a:solidFill>
                  <a:srgbClr val="0F218B"/>
                </a:solidFill>
                <a:latin typeface="Franklin Gothic Demi" panose="020B0703020102020204" pitchFamily="34" charset="0"/>
              </a:rPr>
              <a:t>EU STAKEHOLDER GROUP </a:t>
            </a:r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2D0B100-D460-B9ED-9341-E0F7C40BF3FF}"/>
              </a:ext>
            </a:extLst>
          </p:cNvPr>
          <p:cNvSpPr txBox="1"/>
          <p:nvPr/>
        </p:nvSpPr>
        <p:spPr>
          <a:xfrm>
            <a:off x="3240733" y="3515275"/>
            <a:ext cx="1439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rgbClr val="C00000"/>
                </a:solidFill>
                <a:latin typeface="Franklin Gothic Medium Cond" panose="020B0606030402020204" pitchFamily="34" charset="0"/>
              </a:rPr>
              <a:t>Market Agents</a:t>
            </a:r>
          </a:p>
          <a:p>
            <a:pPr algn="ctr"/>
            <a:r>
              <a:rPr lang="en-GB" sz="1200" err="1">
                <a:solidFill>
                  <a:srgbClr val="0F218B"/>
                </a:solidFill>
                <a:latin typeface="Franklin Gothic Medium Cond" panose="020B0606030402020204" pitchFamily="34" charset="0"/>
              </a:rPr>
              <a:t>Eurelectric</a:t>
            </a:r>
            <a:endParaRPr lang="en-GB" sz="1200">
              <a:solidFill>
                <a:srgbClr val="0F218B"/>
              </a:solidFill>
              <a:latin typeface="Franklin Gothic Medium Cond" panose="020B0606030402020204" pitchFamily="34" charset="0"/>
            </a:endParaRP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EFET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Hydrogen Europ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B525ECE-B271-B9CF-5D83-97E2715B1006}"/>
              </a:ext>
            </a:extLst>
          </p:cNvPr>
          <p:cNvSpPr txBox="1"/>
          <p:nvPr/>
        </p:nvSpPr>
        <p:spPr>
          <a:xfrm>
            <a:off x="4593137" y="3511657"/>
            <a:ext cx="15983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rgbClr val="C00000"/>
                </a:solidFill>
                <a:latin typeface="Franklin Gothic Medium Cond" panose="020B0606030402020204" pitchFamily="34" charset="0"/>
              </a:rPr>
              <a:t>Electromobility</a:t>
            </a:r>
          </a:p>
          <a:p>
            <a:pPr algn="ctr"/>
            <a:r>
              <a:rPr lang="en-GB" sz="1200" err="1">
                <a:solidFill>
                  <a:srgbClr val="0F218B"/>
                </a:solidFill>
                <a:latin typeface="Franklin Gothic Medium Cond" panose="020B0606030402020204" pitchFamily="34" charset="0"/>
              </a:rPr>
              <a:t>ChargeUp</a:t>
            </a:r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 Europe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AVE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629DE1B-F1A8-7C9E-EA4A-3E3E840561B2}"/>
              </a:ext>
            </a:extLst>
          </p:cNvPr>
          <p:cNvSpPr txBox="1"/>
          <p:nvPr/>
        </p:nvSpPr>
        <p:spPr>
          <a:xfrm>
            <a:off x="6005886" y="3523936"/>
            <a:ext cx="173839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rgbClr val="C00000"/>
                </a:solidFill>
                <a:latin typeface="Franklin Gothic Medium Cond" panose="020B0606030402020204" pitchFamily="34" charset="0"/>
              </a:rPr>
              <a:t>Energy Consumer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IFIEC Europe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CEDEC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BEUC</a:t>
            </a:r>
          </a:p>
          <a:p>
            <a:pPr algn="ctr"/>
            <a:r>
              <a:rPr lang="en-GB" sz="1200" err="1">
                <a:solidFill>
                  <a:srgbClr val="0F218B"/>
                </a:solidFill>
                <a:latin typeface="Franklin Gothic Medium Cond" panose="020B0606030402020204" pitchFamily="34" charset="0"/>
              </a:rPr>
              <a:t>SmartEN</a:t>
            </a:r>
            <a:endParaRPr lang="en-GB" sz="1200">
              <a:solidFill>
                <a:srgbClr val="0F218B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E65DE8A-B294-CB8B-28FE-F7D9E65BA6EC}"/>
              </a:ext>
            </a:extLst>
          </p:cNvPr>
          <p:cNvSpPr txBox="1"/>
          <p:nvPr/>
        </p:nvSpPr>
        <p:spPr>
          <a:xfrm>
            <a:off x="7300537" y="3515153"/>
            <a:ext cx="20557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rgbClr val="C00000"/>
                </a:solidFill>
                <a:latin typeface="Franklin Gothic Medium Cond" panose="020B0606030402020204" pitchFamily="34" charset="0"/>
              </a:rPr>
              <a:t>Heating and </a:t>
            </a:r>
          </a:p>
          <a:p>
            <a:pPr algn="ctr"/>
            <a:r>
              <a:rPr lang="en-GB">
                <a:solidFill>
                  <a:srgbClr val="C00000"/>
                </a:solidFill>
                <a:latin typeface="Franklin Gothic Medium Cond" panose="020B0606030402020204" pitchFamily="34" charset="0"/>
              </a:rPr>
              <a:t>cooling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EHI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EHPA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45EF2BC-97AC-D141-4223-8CE624E49DF5}"/>
              </a:ext>
            </a:extLst>
          </p:cNvPr>
          <p:cNvSpPr txBox="1"/>
          <p:nvPr/>
        </p:nvSpPr>
        <p:spPr>
          <a:xfrm>
            <a:off x="8827636" y="3496399"/>
            <a:ext cx="15983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rgbClr val="C00000"/>
                </a:solidFill>
                <a:latin typeface="Franklin Gothic Medium Cond" panose="020B0606030402020204" pitchFamily="34" charset="0"/>
              </a:rPr>
              <a:t>Energy Storage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EASE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BEPA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D787C91-9377-0482-7590-3875DBAA92FB}"/>
              </a:ext>
            </a:extLst>
          </p:cNvPr>
          <p:cNvSpPr txBox="1"/>
          <p:nvPr/>
        </p:nvSpPr>
        <p:spPr>
          <a:xfrm>
            <a:off x="9918215" y="3515385"/>
            <a:ext cx="196078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rgbClr val="C00000"/>
                </a:solidFill>
                <a:latin typeface="Franklin Gothic Medium Cond" panose="020B0606030402020204" pitchFamily="34" charset="0"/>
              </a:rPr>
              <a:t>Others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CAN Europe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RAP, RGI, EPRI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T&amp;D Europe</a:t>
            </a:r>
          </a:p>
          <a:p>
            <a:pPr algn="ctr"/>
            <a:r>
              <a:rPr lang="en-GB" sz="1200">
                <a:solidFill>
                  <a:srgbClr val="0F218B"/>
                </a:solidFill>
                <a:latin typeface="Franklin Gothic Medium Cond" panose="020B0606030402020204" pitchFamily="34" charset="0"/>
              </a:rPr>
              <a:t>EU Turbine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25760F7-797D-139F-A21A-C74C7E29FB3A}"/>
              </a:ext>
            </a:extLst>
          </p:cNvPr>
          <p:cNvCxnSpPr/>
          <p:nvPr/>
        </p:nvCxnSpPr>
        <p:spPr>
          <a:xfrm>
            <a:off x="389156" y="5216857"/>
            <a:ext cx="11200272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8" name="Right Bracket 77">
            <a:extLst>
              <a:ext uri="{FF2B5EF4-FFF2-40B4-BE49-F238E27FC236}">
                <a16:creationId xmlns:a16="http://schemas.microsoft.com/office/drawing/2014/main" id="{EEDB101C-CF83-3D17-613C-FA7CC97BADAA}"/>
              </a:ext>
            </a:extLst>
          </p:cNvPr>
          <p:cNvSpPr/>
          <p:nvPr/>
        </p:nvSpPr>
        <p:spPr>
          <a:xfrm rot="5400000">
            <a:off x="6816035" y="-457855"/>
            <a:ext cx="189251" cy="6821425"/>
          </a:xfrm>
          <a:prstGeom prst="rightBracket">
            <a:avLst>
              <a:gd name="adj" fmla="val 80747"/>
            </a:avLst>
          </a:prstGeom>
          <a:ln w="19050">
            <a:solidFill>
              <a:srgbClr val="0F218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9" name="Graphic 78" descr="Wind Turbines with solid fill">
            <a:extLst>
              <a:ext uri="{FF2B5EF4-FFF2-40B4-BE49-F238E27FC236}">
                <a16:creationId xmlns:a16="http://schemas.microsoft.com/office/drawing/2014/main" id="{077E6BFE-FD1D-724C-9E50-87CA119030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9848" y="4417058"/>
            <a:ext cx="607878" cy="607878"/>
          </a:xfrm>
          <a:prstGeom prst="rect">
            <a:avLst/>
          </a:prstGeom>
        </p:spPr>
      </p:pic>
      <p:pic>
        <p:nvPicPr>
          <p:cNvPr id="80" name="Graphic 79" descr="Bank with solid fill">
            <a:extLst>
              <a:ext uri="{FF2B5EF4-FFF2-40B4-BE49-F238E27FC236}">
                <a16:creationId xmlns:a16="http://schemas.microsoft.com/office/drawing/2014/main" id="{D9679A8C-9F3D-2556-B109-72F887FF1EC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05619" y="4316132"/>
            <a:ext cx="782444" cy="782444"/>
          </a:xfrm>
          <a:prstGeom prst="rect">
            <a:avLst/>
          </a:prstGeom>
        </p:spPr>
      </p:pic>
      <p:pic>
        <p:nvPicPr>
          <p:cNvPr id="100" name="Graphic 99" descr="Supply And Demand with solid fill">
            <a:extLst>
              <a:ext uri="{FF2B5EF4-FFF2-40B4-BE49-F238E27FC236}">
                <a16:creationId xmlns:a16="http://schemas.microsoft.com/office/drawing/2014/main" id="{27F4DB37-F776-3D64-2BB5-3BB57E3AD78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45590" y="4448447"/>
            <a:ext cx="629445" cy="629445"/>
          </a:xfrm>
          <a:prstGeom prst="rect">
            <a:avLst/>
          </a:prstGeom>
        </p:spPr>
      </p:pic>
      <p:pic>
        <p:nvPicPr>
          <p:cNvPr id="102" name="Graphic 101" descr="Electric car with solid fill">
            <a:extLst>
              <a:ext uri="{FF2B5EF4-FFF2-40B4-BE49-F238E27FC236}">
                <a16:creationId xmlns:a16="http://schemas.microsoft.com/office/drawing/2014/main" id="{A0F194FF-DD6B-DBFA-1B97-9D589DC00B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7582" y="4429805"/>
            <a:ext cx="761411" cy="761411"/>
          </a:xfrm>
          <a:prstGeom prst="rect">
            <a:avLst/>
          </a:prstGeom>
        </p:spPr>
      </p:pic>
      <p:pic>
        <p:nvPicPr>
          <p:cNvPr id="105" name="Graphic 104" descr="House with solid fill">
            <a:extLst>
              <a:ext uri="{FF2B5EF4-FFF2-40B4-BE49-F238E27FC236}">
                <a16:creationId xmlns:a16="http://schemas.microsoft.com/office/drawing/2014/main" id="{78203B1A-32A7-D9EC-BEC1-A1D9B2BEE6E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19341" y="4517246"/>
            <a:ext cx="642804" cy="642804"/>
          </a:xfrm>
          <a:prstGeom prst="rect">
            <a:avLst/>
          </a:prstGeom>
        </p:spPr>
      </p:pic>
      <p:pic>
        <p:nvPicPr>
          <p:cNvPr id="116" name="Graphic 115" descr="Bonfire with solid fill">
            <a:extLst>
              <a:ext uri="{FF2B5EF4-FFF2-40B4-BE49-F238E27FC236}">
                <a16:creationId xmlns:a16="http://schemas.microsoft.com/office/drawing/2014/main" id="{44E4CFCA-F8B3-C0D4-676C-B88D35E89D1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032327" y="4506149"/>
            <a:ext cx="642805" cy="571743"/>
          </a:xfrm>
          <a:prstGeom prst="rect">
            <a:avLst/>
          </a:prstGeom>
        </p:spPr>
      </p:pic>
      <p:pic>
        <p:nvPicPr>
          <p:cNvPr id="117" name="Graphic 116" descr="Battery with solid fill">
            <a:extLst>
              <a:ext uri="{FF2B5EF4-FFF2-40B4-BE49-F238E27FC236}">
                <a16:creationId xmlns:a16="http://schemas.microsoft.com/office/drawing/2014/main" id="{265016FD-54AE-0778-7026-E3E18DA12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356328" y="4559725"/>
            <a:ext cx="607878" cy="607878"/>
          </a:xfrm>
          <a:prstGeom prst="rect">
            <a:avLst/>
          </a:prstGeom>
        </p:spPr>
      </p:pic>
      <p:pic>
        <p:nvPicPr>
          <p:cNvPr id="118" name="Graphic 117" descr="Rope Knot with solid fill">
            <a:extLst>
              <a:ext uri="{FF2B5EF4-FFF2-40B4-BE49-F238E27FC236}">
                <a16:creationId xmlns:a16="http://schemas.microsoft.com/office/drawing/2014/main" id="{3E893423-F969-FBDD-0CE0-3B0F7C37EB9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718359" y="4477298"/>
            <a:ext cx="629444" cy="629444"/>
          </a:xfrm>
          <a:prstGeom prst="rect">
            <a:avLst/>
          </a:prstGeom>
        </p:spPr>
      </p:pic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33FEAE72-5AB7-6B9E-19A6-1D87072BB797}"/>
              </a:ext>
            </a:extLst>
          </p:cNvPr>
          <p:cNvCxnSpPr>
            <a:cxnSpLocks/>
          </p:cNvCxnSpPr>
          <p:nvPr/>
        </p:nvCxnSpPr>
        <p:spPr>
          <a:xfrm>
            <a:off x="6259243" y="5440680"/>
            <a:ext cx="0" cy="53318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F6BE2833-456A-2619-4E2F-804247DB8F63}"/>
              </a:ext>
            </a:extLst>
          </p:cNvPr>
          <p:cNvSpPr txBox="1"/>
          <p:nvPr/>
        </p:nvSpPr>
        <p:spPr>
          <a:xfrm>
            <a:off x="894582" y="5461219"/>
            <a:ext cx="55020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Establishment of Joint Task Force, Setting up Goals, Joint Work Plan &amp; Collection of Published Hosting Capacity Information &amp; Definitions</a:t>
            </a:r>
          </a:p>
        </p:txBody>
      </p:sp>
      <p:sp>
        <p:nvSpPr>
          <p:cNvPr id="124" name="Textfeld 40">
            <a:extLst>
              <a:ext uri="{FF2B5EF4-FFF2-40B4-BE49-F238E27FC236}">
                <a16:creationId xmlns:a16="http://schemas.microsoft.com/office/drawing/2014/main" id="{56DBF041-D0E5-3BC6-D19A-EFA86AD00D21}"/>
              </a:ext>
            </a:extLst>
          </p:cNvPr>
          <p:cNvSpPr txBox="1"/>
          <p:nvPr/>
        </p:nvSpPr>
        <p:spPr>
          <a:xfrm>
            <a:off x="4579836" y="6224897"/>
            <a:ext cx="1601390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gress/Concept Report at Copenhagen Forum</a:t>
            </a:r>
          </a:p>
        </p:txBody>
      </p:sp>
      <p:sp>
        <p:nvSpPr>
          <p:cNvPr id="125" name="Raute 61">
            <a:extLst>
              <a:ext uri="{FF2B5EF4-FFF2-40B4-BE49-F238E27FC236}">
                <a16:creationId xmlns:a16="http://schemas.microsoft.com/office/drawing/2014/main" id="{5BCBADC6-CC9B-2520-2D2F-59A2BFDF3DE9}"/>
              </a:ext>
            </a:extLst>
          </p:cNvPr>
          <p:cNvSpPr>
            <a:spLocks noChangeAspect="1"/>
          </p:cNvSpPr>
          <p:nvPr/>
        </p:nvSpPr>
        <p:spPr>
          <a:xfrm>
            <a:off x="6078779" y="5957427"/>
            <a:ext cx="360491" cy="315027"/>
          </a:xfrm>
          <a:prstGeom prst="diamond">
            <a:avLst/>
          </a:prstGeom>
          <a:solidFill>
            <a:schemeClr val="bg1"/>
          </a:solidFill>
          <a:ln w="317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26" name="Gerader Verbinder 85">
            <a:extLst>
              <a:ext uri="{FF2B5EF4-FFF2-40B4-BE49-F238E27FC236}">
                <a16:creationId xmlns:a16="http://schemas.microsoft.com/office/drawing/2014/main" id="{E37ACACB-59F3-0E02-9BA2-4C0A61399810}"/>
              </a:ext>
            </a:extLst>
          </p:cNvPr>
          <p:cNvCxnSpPr>
            <a:cxnSpLocks/>
          </p:cNvCxnSpPr>
          <p:nvPr/>
        </p:nvCxnSpPr>
        <p:spPr>
          <a:xfrm>
            <a:off x="6261471" y="6281129"/>
            <a:ext cx="0" cy="349203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E968BE0D-3D0A-50AB-034F-6DE7BCC4799F}"/>
              </a:ext>
            </a:extLst>
          </p:cNvPr>
          <p:cNvSpPr txBox="1"/>
          <p:nvPr/>
        </p:nvSpPr>
        <p:spPr>
          <a:xfrm>
            <a:off x="6217368" y="5389091"/>
            <a:ext cx="53866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ck-up &amp; Establishment of </a:t>
            </a:r>
            <a:endParaRPr lang="en-US" sz="140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rget platform</a:t>
            </a:r>
          </a:p>
        </p:txBody>
      </p:sp>
      <p:pic>
        <p:nvPicPr>
          <p:cNvPr id="1026" name="Picture 2" descr="DSO Entity – Pillar of Europe's Energy Transition">
            <a:extLst>
              <a:ext uri="{FF2B5EF4-FFF2-40B4-BE49-F238E27FC236}">
                <a16:creationId xmlns:a16="http://schemas.microsoft.com/office/drawing/2014/main" id="{F567E48B-0B87-E9DE-C60E-6A611E738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45" y="5335139"/>
            <a:ext cx="666937" cy="356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ome">
            <a:extLst>
              <a:ext uri="{FF2B5EF4-FFF2-40B4-BE49-F238E27FC236}">
                <a16:creationId xmlns:a16="http://schemas.microsoft.com/office/drawing/2014/main" id="{7A8080D3-A515-F7DE-AE60-7499466B15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731306"/>
            <a:ext cx="914053" cy="315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B582DA-05F3-3EC4-4B45-5EDCC510AD09}"/>
              </a:ext>
            </a:extLst>
          </p:cNvPr>
          <p:cNvSpPr txBox="1"/>
          <p:nvPr/>
        </p:nvSpPr>
        <p:spPr>
          <a:xfrm>
            <a:off x="7440457" y="6146099"/>
            <a:ext cx="16156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liminary outputs for hosting capacity descriptions</a:t>
            </a:r>
          </a:p>
        </p:txBody>
      </p:sp>
      <p:sp>
        <p:nvSpPr>
          <p:cNvPr id="5" name="Raute 61">
            <a:extLst>
              <a:ext uri="{FF2B5EF4-FFF2-40B4-BE49-F238E27FC236}">
                <a16:creationId xmlns:a16="http://schemas.microsoft.com/office/drawing/2014/main" id="{5CBFD268-D140-5D3A-9316-11D98C853B3D}"/>
              </a:ext>
            </a:extLst>
          </p:cNvPr>
          <p:cNvSpPr>
            <a:spLocks noChangeAspect="1"/>
          </p:cNvSpPr>
          <p:nvPr/>
        </p:nvSpPr>
        <p:spPr>
          <a:xfrm>
            <a:off x="8712609" y="5956037"/>
            <a:ext cx="360491" cy="315027"/>
          </a:xfrm>
          <a:prstGeom prst="diamond">
            <a:avLst/>
          </a:prstGeom>
          <a:solidFill>
            <a:schemeClr val="bg1"/>
          </a:solidFill>
          <a:ln w="317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Gerader Verbinder 85">
            <a:extLst>
              <a:ext uri="{FF2B5EF4-FFF2-40B4-BE49-F238E27FC236}">
                <a16:creationId xmlns:a16="http://schemas.microsoft.com/office/drawing/2014/main" id="{D6220DC0-BEB0-994F-F103-FD0EC609AEC3}"/>
              </a:ext>
            </a:extLst>
          </p:cNvPr>
          <p:cNvCxnSpPr>
            <a:cxnSpLocks/>
          </p:cNvCxnSpPr>
          <p:nvPr/>
        </p:nvCxnSpPr>
        <p:spPr>
          <a:xfrm>
            <a:off x="8892635" y="6281129"/>
            <a:ext cx="0" cy="349203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A4731B2-8B3D-3EE4-6285-09DF17DC990F}"/>
              </a:ext>
            </a:extLst>
          </p:cNvPr>
          <p:cNvSpPr txBox="1"/>
          <p:nvPr/>
        </p:nvSpPr>
        <p:spPr>
          <a:xfrm>
            <a:off x="9000826" y="6132564"/>
            <a:ext cx="6416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accent2"/>
                </a:solidFill>
              </a:rPr>
              <a:t>Q4 2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58586D1-EBB2-C898-675C-9CE17CB5CE3F}"/>
              </a:ext>
            </a:extLst>
          </p:cNvPr>
          <p:cNvSpPr txBox="1"/>
          <p:nvPr/>
        </p:nvSpPr>
        <p:spPr>
          <a:xfrm>
            <a:off x="6341717" y="6152275"/>
            <a:ext cx="6416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accent2"/>
                </a:solidFill>
              </a:rPr>
              <a:t>Q2 25</a:t>
            </a:r>
          </a:p>
        </p:txBody>
      </p:sp>
    </p:spTree>
    <p:extLst>
      <p:ext uri="{BB962C8B-B14F-4D97-AF65-F5344CB8AC3E}">
        <p14:creationId xmlns:p14="http://schemas.microsoft.com/office/powerpoint/2010/main" val="1186551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2FC9C-1F1C-1704-7397-F776F8CEB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98" y="347366"/>
            <a:ext cx="11818466" cy="556414"/>
          </a:xfrm>
        </p:spPr>
        <p:txBody>
          <a:bodyPr/>
          <a:lstStyle/>
          <a:p>
            <a:r>
              <a:rPr lang="en-GB" b="0">
                <a:solidFill>
                  <a:schemeClr val="accent1"/>
                </a:solidFill>
              </a:rPr>
              <a:t>Conceptual ideas for Information portal</a:t>
            </a:r>
            <a:br>
              <a:rPr lang="en-GB" b="0">
                <a:solidFill>
                  <a:schemeClr val="accent1"/>
                </a:solidFill>
              </a:rPr>
            </a:br>
            <a:r>
              <a:rPr lang="en-GB" b="0" i="1" err="1">
                <a:solidFill>
                  <a:schemeClr val="accent1"/>
                </a:solidFill>
              </a:rPr>
              <a:t>Capacitypedia</a:t>
            </a:r>
            <a:r>
              <a:rPr lang="en-GB" b="0" i="1">
                <a:solidFill>
                  <a:schemeClr val="accent1"/>
                </a:solidFill>
              </a:rPr>
              <a:t> &amp;Pan EU Overview on Grid Hosting Capacities</a:t>
            </a:r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2044EEC0-8A93-74A5-14CC-B665EB7CC8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28" r="14138"/>
          <a:stretch/>
        </p:blipFill>
        <p:spPr bwMode="auto">
          <a:xfrm>
            <a:off x="482599" y="1625600"/>
            <a:ext cx="5264151" cy="39624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9" name="Graphic 8" descr="Cursor with solid fill">
            <a:extLst>
              <a:ext uri="{FF2B5EF4-FFF2-40B4-BE49-F238E27FC236}">
                <a16:creationId xmlns:a16="http://schemas.microsoft.com/office/drawing/2014/main" id="{87A9D6DC-E390-5563-728D-2A40DE35B0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14115" y="3598175"/>
            <a:ext cx="554966" cy="554966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3550EA8-CB63-6A01-BECB-69F5844757A0}"/>
              </a:ext>
            </a:extLst>
          </p:cNvPr>
          <p:cNvSpPr/>
          <p:nvPr/>
        </p:nvSpPr>
        <p:spPr>
          <a:xfrm>
            <a:off x="4251987" y="1031192"/>
            <a:ext cx="4813539" cy="241539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BC50B85-2E2E-2BC7-A028-CF37879FD4C4}"/>
              </a:ext>
            </a:extLst>
          </p:cNvPr>
          <p:cNvSpPr/>
          <p:nvPr/>
        </p:nvSpPr>
        <p:spPr>
          <a:xfrm>
            <a:off x="4800717" y="3640004"/>
            <a:ext cx="2245395" cy="2604684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872E790-DE36-2F6C-1787-E82E7B95DA30}"/>
              </a:ext>
            </a:extLst>
          </p:cNvPr>
          <p:cNvSpPr/>
          <p:nvPr/>
        </p:nvSpPr>
        <p:spPr>
          <a:xfrm>
            <a:off x="7209184" y="3598175"/>
            <a:ext cx="3104966" cy="241539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F65C0E0-B1C6-E6F5-573A-D0DD0AEC5E83}"/>
              </a:ext>
            </a:extLst>
          </p:cNvPr>
          <p:cNvCxnSpPr/>
          <p:nvPr/>
        </p:nvCxnSpPr>
        <p:spPr>
          <a:xfrm flipV="1">
            <a:off x="2398143" y="2372264"/>
            <a:ext cx="1853844" cy="1164566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567E5AF7-1B36-537A-7749-AF199C514671}"/>
              </a:ext>
            </a:extLst>
          </p:cNvPr>
          <p:cNvSpPr txBox="1"/>
          <p:nvPr/>
        </p:nvSpPr>
        <p:spPr>
          <a:xfrm>
            <a:off x="4392047" y="1135249"/>
            <a:ext cx="37771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untry’s subpage</a:t>
            </a:r>
            <a:r>
              <a: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e.g. Belgium)</a:t>
            </a:r>
          </a:p>
        </p:txBody>
      </p:sp>
      <p:pic>
        <p:nvPicPr>
          <p:cNvPr id="3074" name="Picture 2" descr="Homepage Icon&quot; Images – Browse 418 ...">
            <a:extLst>
              <a:ext uri="{FF2B5EF4-FFF2-40B4-BE49-F238E27FC236}">
                <a16:creationId xmlns:a16="http://schemas.microsoft.com/office/drawing/2014/main" id="{8A8F25AC-5401-4B04-C167-716693E1A5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22" y="1796962"/>
            <a:ext cx="445906" cy="445906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Belgium - Wikipedia">
            <a:extLst>
              <a:ext uri="{FF2B5EF4-FFF2-40B4-BE49-F238E27FC236}">
                <a16:creationId xmlns:a16="http://schemas.microsoft.com/office/drawing/2014/main" id="{7A8917E2-7089-6516-E68C-63DE5BEB08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6768" y="1154318"/>
            <a:ext cx="417392" cy="361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A9C6CEB7-AF43-9798-5392-6FC4E1D6384E}"/>
              </a:ext>
            </a:extLst>
          </p:cNvPr>
          <p:cNvSpPr/>
          <p:nvPr/>
        </p:nvSpPr>
        <p:spPr>
          <a:xfrm>
            <a:off x="4511258" y="1653497"/>
            <a:ext cx="4046146" cy="914400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Country’s status, responsibility for publishing national information, main contacts and link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CD16113-F5BC-64AC-33AC-87278309E1B1}"/>
              </a:ext>
            </a:extLst>
          </p:cNvPr>
          <p:cNvSpPr txBox="1"/>
          <p:nvPr/>
        </p:nvSpPr>
        <p:spPr>
          <a:xfrm>
            <a:off x="5828928" y="2746871"/>
            <a:ext cx="643574" cy="369332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rtlCol="0">
            <a:spAutoFit/>
          </a:bodyPr>
          <a:lstStyle/>
          <a:p>
            <a:r>
              <a: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SO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732BC91-2073-07BD-1000-64BA1E7C2900}"/>
              </a:ext>
            </a:extLst>
          </p:cNvPr>
          <p:cNvSpPr txBox="1"/>
          <p:nvPr/>
        </p:nvSpPr>
        <p:spPr>
          <a:xfrm>
            <a:off x="6658756" y="2746871"/>
            <a:ext cx="675185" cy="36933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/>
          <a:p>
            <a:r>
              <a:rPr lang="en-GB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SOs</a:t>
            </a:r>
          </a:p>
        </p:txBody>
      </p:sp>
      <p:pic>
        <p:nvPicPr>
          <p:cNvPr id="29" name="Graphic 28" descr="Cursor with solid fill">
            <a:extLst>
              <a:ext uri="{FF2B5EF4-FFF2-40B4-BE49-F238E27FC236}">
                <a16:creationId xmlns:a16="http://schemas.microsoft.com/office/drawing/2014/main" id="{85364EC3-803F-F253-511F-6B6C0F0B1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85298" y="3068973"/>
            <a:ext cx="554966" cy="55496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B4EE556-02F0-F752-461D-FD9C5EB4E6D1}"/>
              </a:ext>
            </a:extLst>
          </p:cNvPr>
          <p:cNvSpPr txBox="1"/>
          <p:nvPr/>
        </p:nvSpPr>
        <p:spPr>
          <a:xfrm>
            <a:off x="4841804" y="3657041"/>
            <a:ext cx="224539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SO grid hosting capacity information, additional links to national maps (if any) or tables, </a:t>
            </a:r>
            <a:r>
              <a:rPr lang="en-GB" sz="2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tions </a:t>
            </a: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 disclaimers</a:t>
            </a:r>
            <a:endParaRPr lang="en-GB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6ED37ED-C451-9CE0-1D09-0A5940CF43D3}"/>
              </a:ext>
            </a:extLst>
          </p:cNvPr>
          <p:cNvSpPr txBox="1"/>
          <p:nvPr/>
        </p:nvSpPr>
        <p:spPr>
          <a:xfrm>
            <a:off x="7250271" y="3716114"/>
            <a:ext cx="3104965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SO grid hosting capacity information, additional links to national maps (if any) or tables, </a:t>
            </a:r>
            <a:r>
              <a:rPr lang="en-GB" sz="2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tions</a:t>
            </a: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d disclaimers</a:t>
            </a:r>
          </a:p>
          <a:p>
            <a:pPr algn="ctr"/>
            <a:r>
              <a:rPr lang="en-GB" sz="1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links, contacts and subpages to capture the diversity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312F254-981A-76E3-E0C7-DAB722A5A516}"/>
              </a:ext>
            </a:extLst>
          </p:cNvPr>
          <p:cNvSpPr txBox="1"/>
          <p:nvPr/>
        </p:nvSpPr>
        <p:spPr>
          <a:xfrm>
            <a:off x="9423760" y="2289946"/>
            <a:ext cx="1587358" cy="369332"/>
          </a:xfrm>
          <a:prstGeom prst="rect">
            <a:avLst/>
          </a:prstGeom>
          <a:solidFill>
            <a:schemeClr val="accent2"/>
          </a:solidFill>
          <a:ln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/>
          <a:p>
            <a:r>
              <a:rPr lang="en-GB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ood practic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362FD36-9505-8F62-69DD-0C9727E6763A}"/>
              </a:ext>
            </a:extLst>
          </p:cNvPr>
          <p:cNvSpPr txBox="1"/>
          <p:nvPr/>
        </p:nvSpPr>
        <p:spPr>
          <a:xfrm>
            <a:off x="9423759" y="2699641"/>
            <a:ext cx="2406769" cy="738664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kumimoji="0" lang="en-US" sz="1400" b="0" i="0" u="none" kern="1200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</a:rPr>
              <a:t>Effective practices implemented by DSOs and/or TSOs</a:t>
            </a:r>
            <a:endParaRPr lang="en-GB" sz="1400">
              <a:latin typeface="Calibri"/>
              <a:ea typeface="Calibri"/>
              <a:cs typeface="Calibri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EAF8094-25C2-D4EC-AFB0-1938E05DA95C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5923415" y="3116203"/>
            <a:ext cx="172585" cy="523801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ED7C5D0-BDF5-EC17-600E-D9FD728D2082}"/>
              </a:ext>
            </a:extLst>
          </p:cNvPr>
          <p:cNvCxnSpPr>
            <a:cxnSpLocks/>
            <a:stCxn id="18" idx="0"/>
          </p:cNvCxnSpPr>
          <p:nvPr/>
        </p:nvCxnSpPr>
        <p:spPr>
          <a:xfrm flipH="1" flipV="1">
            <a:off x="7046112" y="3114844"/>
            <a:ext cx="1715555" cy="483331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B6B83FE-7D19-A93E-A64E-EDE530373B69}"/>
              </a:ext>
            </a:extLst>
          </p:cNvPr>
          <p:cNvSpPr txBox="1"/>
          <p:nvPr/>
        </p:nvSpPr>
        <p:spPr>
          <a:xfrm>
            <a:off x="9423760" y="1021729"/>
            <a:ext cx="1633295" cy="369332"/>
          </a:xfrm>
          <a:prstGeom prst="rect">
            <a:avLst/>
          </a:prstGeom>
          <a:solidFill>
            <a:schemeClr val="accent2"/>
          </a:solidFill>
          <a:ln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err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Capacitypedia</a:t>
            </a:r>
            <a:endParaRPr lang="en-GB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2E94A2-A6D6-B890-D031-BFA1C48DFCA2}"/>
              </a:ext>
            </a:extLst>
          </p:cNvPr>
          <p:cNvSpPr txBox="1"/>
          <p:nvPr/>
        </p:nvSpPr>
        <p:spPr>
          <a:xfrm>
            <a:off x="9423759" y="1452741"/>
            <a:ext cx="2406769" cy="738664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>
                <a:latin typeface="Calibri"/>
                <a:ea typeface="Calibri"/>
                <a:cs typeface="Calibri"/>
              </a:rPr>
              <a:t>Guide for understanding grid hosting capacity information and used definitions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6059438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DAA7C3C-5ECF-71F0-525B-4F73D5996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rid Action Plan – Action 6: D</a:t>
            </a:r>
            <a:r>
              <a:rPr lang="en-US" err="1"/>
              <a:t>igitalising</a:t>
            </a:r>
            <a:r>
              <a:rPr lang="en-US"/>
              <a:t> and Streamlining Grid Connection Request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40989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403DC0-E8AB-0966-3CA9-F6F6A4057E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073660A-588E-70A8-52DA-24596C1E9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09" y="450623"/>
            <a:ext cx="11617788" cy="646891"/>
          </a:xfrm>
        </p:spPr>
        <p:txBody>
          <a:bodyPr lIns="91440" tIns="45720" rIns="91440" bIns="45720" anchor="ctr"/>
          <a:lstStyle/>
          <a:p>
            <a:r>
              <a:rPr lang="en-GB" sz="2800" b="0">
                <a:solidFill>
                  <a:schemeClr val="accent1"/>
                </a:solidFill>
                <a:latin typeface="Calibri"/>
                <a:ea typeface="Calibri"/>
                <a:cs typeface="Calibri"/>
              </a:rPr>
              <a:t>Grid Action Plan 06-</a:t>
            </a:r>
            <a:r>
              <a:rPr lang="en-US" sz="2800" b="0">
                <a:solidFill>
                  <a:schemeClr val="accent1"/>
                </a:solidFill>
                <a:latin typeface="Calibri"/>
                <a:ea typeface="Calibri"/>
                <a:cs typeface="Calibri"/>
              </a:rPr>
              <a:t>Digitalising and Streamlining Grid Connection Requests</a:t>
            </a:r>
            <a:r>
              <a:rPr lang="en-US">
                <a:latin typeface="Calibri"/>
                <a:ea typeface="Calibri"/>
                <a:cs typeface="Calibri"/>
              </a:rPr>
              <a:t> </a:t>
            </a:r>
            <a:br>
              <a:rPr lang="en-US"/>
            </a:br>
            <a:r>
              <a:rPr lang="en-US" sz="2400" b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/>
                <a:ea typeface="Calibri"/>
                <a:cs typeface="Calibri"/>
              </a:rPr>
              <a:t>Preliminary Findings</a:t>
            </a:r>
            <a:endParaRPr lang="en-GB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183C35F-A444-48D9-C390-B133B03591B5}"/>
              </a:ext>
            </a:extLst>
          </p:cNvPr>
          <p:cNvGrpSpPr/>
          <p:nvPr/>
        </p:nvGrpSpPr>
        <p:grpSpPr>
          <a:xfrm>
            <a:off x="127001" y="1187398"/>
            <a:ext cx="11735205" cy="868681"/>
            <a:chOff x="-442806" y="1809319"/>
            <a:chExt cx="11751219" cy="1472528"/>
          </a:xfrm>
        </p:grpSpPr>
        <p:sp>
          <p:nvSpPr>
            <p:cNvPr id="3" name="Arrow: Chevron 2">
              <a:extLst>
                <a:ext uri="{FF2B5EF4-FFF2-40B4-BE49-F238E27FC236}">
                  <a16:creationId xmlns:a16="http://schemas.microsoft.com/office/drawing/2014/main" id="{A826E3F5-DEAF-2293-7D1F-51E9A2CEBF57}"/>
                </a:ext>
              </a:extLst>
            </p:cNvPr>
            <p:cNvSpPr/>
            <p:nvPr/>
          </p:nvSpPr>
          <p:spPr>
            <a:xfrm>
              <a:off x="-442806" y="1809319"/>
              <a:ext cx="3051872" cy="1178023"/>
            </a:xfrm>
            <a:prstGeom prst="chevron">
              <a:avLst>
                <a:gd name="adj" fmla="val 40000"/>
              </a:avLst>
            </a:prstGeom>
            <a:solidFill>
              <a:srgbClr val="002060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400" b="1"/>
            </a:p>
          </p:txBody>
        </p:sp>
        <p:sp>
          <p:nvSpPr>
            <p:cNvPr id="5" name="Free-form: Shape 4">
              <a:extLst>
                <a:ext uri="{FF2B5EF4-FFF2-40B4-BE49-F238E27FC236}">
                  <a16:creationId xmlns:a16="http://schemas.microsoft.com/office/drawing/2014/main" id="{DD07ABD7-6EAF-904E-2EFE-F0B396B33C2C}"/>
                </a:ext>
              </a:extLst>
            </p:cNvPr>
            <p:cNvSpPr/>
            <p:nvPr/>
          </p:nvSpPr>
          <p:spPr>
            <a:xfrm>
              <a:off x="-80062" y="2103824"/>
              <a:ext cx="2577136" cy="1178023"/>
            </a:xfrm>
            <a:custGeom>
              <a:avLst/>
              <a:gdLst>
                <a:gd name="connsiteX0" fmla="*/ 0 w 2577136"/>
                <a:gd name="connsiteY0" fmla="*/ 117802 h 1178022"/>
                <a:gd name="connsiteX1" fmla="*/ 117802 w 2577136"/>
                <a:gd name="connsiteY1" fmla="*/ 0 h 1178022"/>
                <a:gd name="connsiteX2" fmla="*/ 2459334 w 2577136"/>
                <a:gd name="connsiteY2" fmla="*/ 0 h 1178022"/>
                <a:gd name="connsiteX3" fmla="*/ 2577136 w 2577136"/>
                <a:gd name="connsiteY3" fmla="*/ 117802 h 1178022"/>
                <a:gd name="connsiteX4" fmla="*/ 2577136 w 2577136"/>
                <a:gd name="connsiteY4" fmla="*/ 1060220 h 1178022"/>
                <a:gd name="connsiteX5" fmla="*/ 2459334 w 2577136"/>
                <a:gd name="connsiteY5" fmla="*/ 1178022 h 1178022"/>
                <a:gd name="connsiteX6" fmla="*/ 117802 w 2577136"/>
                <a:gd name="connsiteY6" fmla="*/ 1178022 h 1178022"/>
                <a:gd name="connsiteX7" fmla="*/ 0 w 2577136"/>
                <a:gd name="connsiteY7" fmla="*/ 1060220 h 1178022"/>
                <a:gd name="connsiteX8" fmla="*/ 0 w 2577136"/>
                <a:gd name="connsiteY8" fmla="*/ 117802 h 1178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7136" h="1178022">
                  <a:moveTo>
                    <a:pt x="0" y="117802"/>
                  </a:moveTo>
                  <a:cubicBezTo>
                    <a:pt x="0" y="52742"/>
                    <a:pt x="52742" y="0"/>
                    <a:pt x="117802" y="0"/>
                  </a:cubicBezTo>
                  <a:lnTo>
                    <a:pt x="2459334" y="0"/>
                  </a:lnTo>
                  <a:cubicBezTo>
                    <a:pt x="2524394" y="0"/>
                    <a:pt x="2577136" y="52742"/>
                    <a:pt x="2577136" y="117802"/>
                  </a:cubicBezTo>
                  <a:lnTo>
                    <a:pt x="2577136" y="1060220"/>
                  </a:lnTo>
                  <a:cubicBezTo>
                    <a:pt x="2577136" y="1125280"/>
                    <a:pt x="2524394" y="1178022"/>
                    <a:pt x="2459334" y="1178022"/>
                  </a:cubicBezTo>
                  <a:lnTo>
                    <a:pt x="117802" y="1178022"/>
                  </a:lnTo>
                  <a:cubicBezTo>
                    <a:pt x="52742" y="1178022"/>
                    <a:pt x="0" y="1125280"/>
                    <a:pt x="0" y="1060220"/>
                  </a:cubicBezTo>
                  <a:lnTo>
                    <a:pt x="0" y="117802"/>
                  </a:lnTo>
                  <a:close/>
                </a:path>
              </a:pathLst>
            </a:custGeom>
            <a:ln>
              <a:solidFill>
                <a:srgbClr val="002060"/>
              </a:solidFill>
            </a:ln>
          </p:spPr>
          <p:style>
            <a:lnRef idx="1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2519" tIns="162519" rIns="162519" bIns="162519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/>
                <a:t>Internal Assessment</a:t>
              </a:r>
              <a:endParaRPr lang="en-GB" sz="1400" b="1" kern="1200"/>
            </a:p>
          </p:txBody>
        </p:sp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5CD4115A-099C-FE36-C589-D99C78064FF7}"/>
                </a:ext>
              </a:extLst>
            </p:cNvPr>
            <p:cNvSpPr/>
            <p:nvPr/>
          </p:nvSpPr>
          <p:spPr>
            <a:xfrm>
              <a:off x="3756171" y="1809319"/>
              <a:ext cx="3051872" cy="1178023"/>
            </a:xfrm>
            <a:prstGeom prst="chevron">
              <a:avLst>
                <a:gd name="adj" fmla="val 4000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400" b="1"/>
            </a:p>
          </p:txBody>
        </p:sp>
        <p:sp>
          <p:nvSpPr>
            <p:cNvPr id="8" name="Free-form: Shape 7">
              <a:extLst>
                <a:ext uri="{FF2B5EF4-FFF2-40B4-BE49-F238E27FC236}">
                  <a16:creationId xmlns:a16="http://schemas.microsoft.com/office/drawing/2014/main" id="{54C55146-C000-73DC-F1DA-4E01C5D890FA}"/>
                </a:ext>
              </a:extLst>
            </p:cNvPr>
            <p:cNvSpPr/>
            <p:nvPr/>
          </p:nvSpPr>
          <p:spPr>
            <a:xfrm>
              <a:off x="4118911" y="2103824"/>
              <a:ext cx="2577136" cy="1178023"/>
            </a:xfrm>
            <a:custGeom>
              <a:avLst/>
              <a:gdLst>
                <a:gd name="connsiteX0" fmla="*/ 0 w 2577136"/>
                <a:gd name="connsiteY0" fmla="*/ 117802 h 1178022"/>
                <a:gd name="connsiteX1" fmla="*/ 117802 w 2577136"/>
                <a:gd name="connsiteY1" fmla="*/ 0 h 1178022"/>
                <a:gd name="connsiteX2" fmla="*/ 2459334 w 2577136"/>
                <a:gd name="connsiteY2" fmla="*/ 0 h 1178022"/>
                <a:gd name="connsiteX3" fmla="*/ 2577136 w 2577136"/>
                <a:gd name="connsiteY3" fmla="*/ 117802 h 1178022"/>
                <a:gd name="connsiteX4" fmla="*/ 2577136 w 2577136"/>
                <a:gd name="connsiteY4" fmla="*/ 1060220 h 1178022"/>
                <a:gd name="connsiteX5" fmla="*/ 2459334 w 2577136"/>
                <a:gd name="connsiteY5" fmla="*/ 1178022 h 1178022"/>
                <a:gd name="connsiteX6" fmla="*/ 117802 w 2577136"/>
                <a:gd name="connsiteY6" fmla="*/ 1178022 h 1178022"/>
                <a:gd name="connsiteX7" fmla="*/ 0 w 2577136"/>
                <a:gd name="connsiteY7" fmla="*/ 1060220 h 1178022"/>
                <a:gd name="connsiteX8" fmla="*/ 0 w 2577136"/>
                <a:gd name="connsiteY8" fmla="*/ 117802 h 1178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7136" h="1178022">
                  <a:moveTo>
                    <a:pt x="0" y="117802"/>
                  </a:moveTo>
                  <a:cubicBezTo>
                    <a:pt x="0" y="52742"/>
                    <a:pt x="52742" y="0"/>
                    <a:pt x="117802" y="0"/>
                  </a:cubicBezTo>
                  <a:lnTo>
                    <a:pt x="2459334" y="0"/>
                  </a:lnTo>
                  <a:cubicBezTo>
                    <a:pt x="2524394" y="0"/>
                    <a:pt x="2577136" y="52742"/>
                    <a:pt x="2577136" y="117802"/>
                  </a:cubicBezTo>
                  <a:lnTo>
                    <a:pt x="2577136" y="1060220"/>
                  </a:lnTo>
                  <a:cubicBezTo>
                    <a:pt x="2577136" y="1125280"/>
                    <a:pt x="2524394" y="1178022"/>
                    <a:pt x="2459334" y="1178022"/>
                  </a:cubicBezTo>
                  <a:lnTo>
                    <a:pt x="117802" y="1178022"/>
                  </a:lnTo>
                  <a:cubicBezTo>
                    <a:pt x="52742" y="1178022"/>
                    <a:pt x="0" y="1125280"/>
                    <a:pt x="0" y="1060220"/>
                  </a:cubicBezTo>
                  <a:lnTo>
                    <a:pt x="0" y="117802"/>
                  </a:lnTo>
                  <a:close/>
                </a:path>
              </a:pathLst>
            </a:custGeom>
          </p:spPr>
          <p:style>
            <a:lnRef idx="1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2519" tIns="162519" rIns="162519" bIns="162519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/>
                <a:t>Main </a:t>
              </a:r>
              <a:r>
                <a:rPr lang="en-US" sz="1400" b="1"/>
                <a:t>Observations</a:t>
              </a:r>
              <a:endParaRPr lang="en-GB" sz="1400" b="1" kern="1200"/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C97E3D84-DEB3-3923-46CD-82A242C71A5D}"/>
                </a:ext>
              </a:extLst>
            </p:cNvPr>
            <p:cNvSpPr/>
            <p:nvPr/>
          </p:nvSpPr>
          <p:spPr>
            <a:xfrm>
              <a:off x="8256541" y="1809319"/>
              <a:ext cx="3051872" cy="1178023"/>
            </a:xfrm>
            <a:prstGeom prst="chevron">
              <a:avLst>
                <a:gd name="adj" fmla="val 40000"/>
              </a:avLst>
            </a:prstGeom>
            <a:solidFill>
              <a:schemeClr val="accent2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400" b="1"/>
            </a:p>
          </p:txBody>
        </p:sp>
        <p:sp>
          <p:nvSpPr>
            <p:cNvPr id="10" name="Free-form: Shape 9">
              <a:extLst>
                <a:ext uri="{FF2B5EF4-FFF2-40B4-BE49-F238E27FC236}">
                  <a16:creationId xmlns:a16="http://schemas.microsoft.com/office/drawing/2014/main" id="{DB740D12-3BB8-0FA5-AA6B-32D4025FBB34}"/>
                </a:ext>
              </a:extLst>
            </p:cNvPr>
            <p:cNvSpPr/>
            <p:nvPr/>
          </p:nvSpPr>
          <p:spPr>
            <a:xfrm>
              <a:off x="8619294" y="2103824"/>
              <a:ext cx="2577136" cy="1178023"/>
            </a:xfrm>
            <a:custGeom>
              <a:avLst/>
              <a:gdLst>
                <a:gd name="connsiteX0" fmla="*/ 0 w 2577136"/>
                <a:gd name="connsiteY0" fmla="*/ 117802 h 1178022"/>
                <a:gd name="connsiteX1" fmla="*/ 117802 w 2577136"/>
                <a:gd name="connsiteY1" fmla="*/ 0 h 1178022"/>
                <a:gd name="connsiteX2" fmla="*/ 2459334 w 2577136"/>
                <a:gd name="connsiteY2" fmla="*/ 0 h 1178022"/>
                <a:gd name="connsiteX3" fmla="*/ 2577136 w 2577136"/>
                <a:gd name="connsiteY3" fmla="*/ 117802 h 1178022"/>
                <a:gd name="connsiteX4" fmla="*/ 2577136 w 2577136"/>
                <a:gd name="connsiteY4" fmla="*/ 1060220 h 1178022"/>
                <a:gd name="connsiteX5" fmla="*/ 2459334 w 2577136"/>
                <a:gd name="connsiteY5" fmla="*/ 1178022 h 1178022"/>
                <a:gd name="connsiteX6" fmla="*/ 117802 w 2577136"/>
                <a:gd name="connsiteY6" fmla="*/ 1178022 h 1178022"/>
                <a:gd name="connsiteX7" fmla="*/ 0 w 2577136"/>
                <a:gd name="connsiteY7" fmla="*/ 1060220 h 1178022"/>
                <a:gd name="connsiteX8" fmla="*/ 0 w 2577136"/>
                <a:gd name="connsiteY8" fmla="*/ 117802 h 1178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7136" h="1178022">
                  <a:moveTo>
                    <a:pt x="0" y="117802"/>
                  </a:moveTo>
                  <a:cubicBezTo>
                    <a:pt x="0" y="52742"/>
                    <a:pt x="52742" y="0"/>
                    <a:pt x="117802" y="0"/>
                  </a:cubicBezTo>
                  <a:lnTo>
                    <a:pt x="2459334" y="0"/>
                  </a:lnTo>
                  <a:cubicBezTo>
                    <a:pt x="2524394" y="0"/>
                    <a:pt x="2577136" y="52742"/>
                    <a:pt x="2577136" y="117802"/>
                  </a:cubicBezTo>
                  <a:lnTo>
                    <a:pt x="2577136" y="1060220"/>
                  </a:lnTo>
                  <a:cubicBezTo>
                    <a:pt x="2577136" y="1125280"/>
                    <a:pt x="2524394" y="1178022"/>
                    <a:pt x="2459334" y="1178022"/>
                  </a:cubicBezTo>
                  <a:lnTo>
                    <a:pt x="117802" y="1178022"/>
                  </a:lnTo>
                  <a:cubicBezTo>
                    <a:pt x="52742" y="1178022"/>
                    <a:pt x="0" y="1125280"/>
                    <a:pt x="0" y="1060220"/>
                  </a:cubicBezTo>
                  <a:lnTo>
                    <a:pt x="0" y="117802"/>
                  </a:lnTo>
                  <a:close/>
                </a:path>
              </a:pathLst>
            </a:custGeom>
            <a:ln>
              <a:solidFill>
                <a:srgbClr val="0FB29A"/>
              </a:solidFill>
            </a:ln>
          </p:spPr>
          <p:style>
            <a:lnRef idx="1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2519" tIns="162519" rIns="162519" bIns="162519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/>
                <a:t>Key Enablers to Support Diversity across Europe</a:t>
              </a:r>
              <a:endParaRPr lang="en-GB" sz="1400" b="1" kern="1200"/>
            </a:p>
          </p:txBody>
        </p:sp>
      </p:grpSp>
      <p:sp>
        <p:nvSpPr>
          <p:cNvPr id="11" name="TextBox 20">
            <a:extLst>
              <a:ext uri="{FF2B5EF4-FFF2-40B4-BE49-F238E27FC236}">
                <a16:creationId xmlns:a16="http://schemas.microsoft.com/office/drawing/2014/main" id="{564D74B9-54F9-CF69-A7DD-D219E508E55F}"/>
              </a:ext>
            </a:extLst>
          </p:cNvPr>
          <p:cNvSpPr txBox="1"/>
          <p:nvPr/>
        </p:nvSpPr>
        <p:spPr>
          <a:xfrm>
            <a:off x="4460239" y="2123990"/>
            <a:ext cx="3219391" cy="885349"/>
          </a:xfrm>
          <a:prstGeom prst="roundRect">
            <a:avLst/>
          </a:prstGeom>
          <a:noFill/>
          <a:ln cap="rnd">
            <a:solidFill>
              <a:schemeClr val="tx2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/>
                <a:ea typeface="Calibri"/>
                <a:cs typeface="Calibri"/>
              </a:rPr>
              <a:t>Fit-for-purpose automation </a:t>
            </a:r>
            <a:endParaRPr lang="en-US">
              <a:solidFill>
                <a:schemeClr val="tx1">
                  <a:lumMod val="60000"/>
                  <a:lumOff val="40000"/>
                </a:schemeClr>
              </a:solidFill>
              <a:latin typeface="Trebuchet MS"/>
              <a:ea typeface="Calibri"/>
              <a:cs typeface="Calibri"/>
            </a:endParaRPr>
          </a:p>
          <a:p>
            <a:r>
              <a:rPr lang="en-US" sz="14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Calibri"/>
                <a:cs typeface="Calibri"/>
              </a:rPr>
              <a:t>Depends on the complexity of the assessments for connection requests</a:t>
            </a:r>
            <a:endParaRPr lang="en-US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20">
            <a:extLst>
              <a:ext uri="{FF2B5EF4-FFF2-40B4-BE49-F238E27FC236}">
                <a16:creationId xmlns:a16="http://schemas.microsoft.com/office/drawing/2014/main" id="{64AAE9B1-9B37-BC16-0E48-4972A6C76A9E}"/>
              </a:ext>
            </a:extLst>
          </p:cNvPr>
          <p:cNvSpPr txBox="1"/>
          <p:nvPr/>
        </p:nvSpPr>
        <p:spPr>
          <a:xfrm>
            <a:off x="4460239" y="3089699"/>
            <a:ext cx="3219391" cy="1362075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/>
                <a:ea typeface="Calibri"/>
                <a:cs typeface="Calibri"/>
              </a:rPr>
              <a:t>Interdependence*</a:t>
            </a:r>
            <a:endParaRPr lang="en-US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4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Calibri"/>
                <a:cs typeface="Calibri"/>
              </a:rPr>
              <a:t>String interdependence with competent authorities and other external stakeholders. Delays in permitting and supply chain disruptions</a:t>
            </a:r>
          </a:p>
        </p:txBody>
      </p:sp>
      <p:sp>
        <p:nvSpPr>
          <p:cNvPr id="13" name="TextBox 20">
            <a:extLst>
              <a:ext uri="{FF2B5EF4-FFF2-40B4-BE49-F238E27FC236}">
                <a16:creationId xmlns:a16="http://schemas.microsoft.com/office/drawing/2014/main" id="{66E51495-2EEE-C5AF-54F4-C928D2280138}"/>
              </a:ext>
            </a:extLst>
          </p:cNvPr>
          <p:cNvSpPr txBox="1"/>
          <p:nvPr/>
        </p:nvSpPr>
        <p:spPr>
          <a:xfrm>
            <a:off x="4460239" y="4571006"/>
            <a:ext cx="3219391" cy="885349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/>
                <a:ea typeface="Calibri"/>
                <a:cs typeface="Calibri"/>
              </a:rPr>
              <a:t>Qualified Labour*</a:t>
            </a:r>
            <a:endParaRPr lang="en-US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40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rtage of skilled </a:t>
            </a:r>
            <a:r>
              <a:rPr lang="en-US" sz="1400" err="1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bour</a:t>
            </a:r>
            <a:r>
              <a:rPr lang="en-US" sz="140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mpacts overall efficiency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5069597C-1E5A-50CB-A83C-4ADC816AC636}"/>
              </a:ext>
            </a:extLst>
          </p:cNvPr>
          <p:cNvSpPr txBox="1"/>
          <p:nvPr/>
        </p:nvSpPr>
        <p:spPr>
          <a:xfrm>
            <a:off x="4460239" y="5519846"/>
            <a:ext cx="3219391" cy="1362075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/>
                <a:ea typeface="Calibri"/>
                <a:cs typeface="Calibri"/>
              </a:rPr>
              <a:t>Change Management*</a:t>
            </a:r>
            <a:endParaRPr lang="en-US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4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Calibri"/>
                <a:cs typeface="Calibri"/>
              </a:rPr>
              <a:t>Natural resistance to new digital processes and a need for comprehensive upskilling training </a:t>
            </a:r>
            <a:r>
              <a:rPr lang="en-US" sz="1400" err="1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Calibri"/>
                <a:cs typeface="Calibri"/>
              </a:rPr>
              <a:t>programmes</a:t>
            </a:r>
            <a:endParaRPr lang="en-US" sz="1400">
              <a:solidFill>
                <a:schemeClr val="tx1">
                  <a:lumMod val="60000"/>
                  <a:lumOff val="40000"/>
                </a:schemeClr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5" name="TextBox 20">
            <a:extLst>
              <a:ext uri="{FF2B5EF4-FFF2-40B4-BE49-F238E27FC236}">
                <a16:creationId xmlns:a16="http://schemas.microsoft.com/office/drawing/2014/main" id="{B7BC7E45-32FC-4385-BD45-E401B9E11BB0}"/>
              </a:ext>
            </a:extLst>
          </p:cNvPr>
          <p:cNvSpPr txBox="1"/>
          <p:nvPr/>
        </p:nvSpPr>
        <p:spPr>
          <a:xfrm>
            <a:off x="9030470" y="2318532"/>
            <a:ext cx="2976593" cy="1123712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gital Solutions</a:t>
            </a:r>
          </a:p>
          <a:p>
            <a:r>
              <a:rPr lang="en-US" sz="14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Calibri"/>
                <a:cs typeface="Calibri"/>
              </a:rPr>
              <a:t>User-friendly platform with a certain degree of automated processes enhanced the effectivenes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21D0DED4-9B21-57A7-6605-7826BBA71B17}"/>
              </a:ext>
            </a:extLst>
          </p:cNvPr>
          <p:cNvSpPr txBox="1"/>
          <p:nvPr/>
        </p:nvSpPr>
        <p:spPr>
          <a:xfrm>
            <a:off x="8959350" y="3539552"/>
            <a:ext cx="3047713" cy="1123712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hanced Collaboration</a:t>
            </a:r>
          </a:p>
          <a:p>
            <a:r>
              <a:rPr lang="en-US" sz="140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roved collaboration among grid planners and both internal/external stakeholders</a:t>
            </a:r>
          </a:p>
        </p:txBody>
      </p:sp>
      <p:sp>
        <p:nvSpPr>
          <p:cNvPr id="17" name="TextBox 20">
            <a:extLst>
              <a:ext uri="{FF2B5EF4-FFF2-40B4-BE49-F238E27FC236}">
                <a16:creationId xmlns:a16="http://schemas.microsoft.com/office/drawing/2014/main" id="{8E1E7281-FDFB-E805-AA21-11ABB93AC555}"/>
              </a:ext>
            </a:extLst>
          </p:cNvPr>
          <p:cNvSpPr txBox="1"/>
          <p:nvPr/>
        </p:nvSpPr>
        <p:spPr>
          <a:xfrm>
            <a:off x="8959350" y="4914070"/>
            <a:ext cx="3047713" cy="1123712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/>
                <a:ea typeface="Calibri"/>
                <a:cs typeface="Calibri"/>
              </a:rPr>
              <a:t>Regulatory Innovation*</a:t>
            </a:r>
            <a:endParaRPr lang="en-US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40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lexible connection models that support the timely integration of new connec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9C88BF-200A-EC11-5730-C2D43B2AE732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07113" y="3309322"/>
            <a:ext cx="335282" cy="1624598"/>
          </a:xfrm>
          <a:prstGeom prst="rect">
            <a:avLst/>
          </a:prstGeom>
        </p:spPr>
      </p:pic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32F82A11-A0CD-010F-E937-BA5A8C22A815}"/>
              </a:ext>
            </a:extLst>
          </p:cNvPr>
          <p:cNvSpPr/>
          <p:nvPr/>
        </p:nvSpPr>
        <p:spPr>
          <a:xfrm rot="5400000">
            <a:off x="7255028" y="3940687"/>
            <a:ext cx="1624598" cy="368328"/>
          </a:xfrm>
          <a:prstGeom prst="triangl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7CFBD10-BF01-0FEC-EDE5-700DF0374811}"/>
              </a:ext>
            </a:extLst>
          </p:cNvPr>
          <p:cNvSpPr/>
          <p:nvPr/>
        </p:nvSpPr>
        <p:spPr>
          <a:xfrm>
            <a:off x="63195" y="2626641"/>
            <a:ext cx="3214442" cy="3148942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/>
              <a:t>DSO Entity is conducting a comprehensive assessment to understand the main challenges / enablers and collect good practices that will enable an effective handling of connection requests at distribution grids</a:t>
            </a:r>
            <a:endParaRPr lang="en-GB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95CC055-3A9C-C4B7-C48A-C1B0D06A2D0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625" t="24613" r="-625" b="49981"/>
          <a:stretch/>
        </p:blipFill>
        <p:spPr>
          <a:xfrm>
            <a:off x="3969394" y="2998073"/>
            <a:ext cx="592825" cy="6049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63A332D-36E0-13D7-5700-F2C7F664659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714" t="49946" r="714" b="24648"/>
          <a:stretch/>
        </p:blipFill>
        <p:spPr>
          <a:xfrm>
            <a:off x="3969392" y="4506502"/>
            <a:ext cx="592825" cy="60499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8704F73-397B-2511-2648-B623900E5B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75210" b="-63"/>
          <a:stretch/>
        </p:blipFill>
        <p:spPr>
          <a:xfrm>
            <a:off x="3969392" y="5474569"/>
            <a:ext cx="592825" cy="59182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17AE467-2DD2-C445-BC05-1CA3033612F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66587"/>
          <a:stretch/>
        </p:blipFill>
        <p:spPr>
          <a:xfrm>
            <a:off x="8430167" y="2236236"/>
            <a:ext cx="603554" cy="60499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9B11127-869F-E74A-892B-FF25ABD0037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33200" b="33387"/>
          <a:stretch/>
        </p:blipFill>
        <p:spPr>
          <a:xfrm>
            <a:off x="8433387" y="3385065"/>
            <a:ext cx="603554" cy="60499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B6FDA13-A19F-86A4-C42D-C8C54EBCFB2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66751" b="-164"/>
          <a:stretch/>
        </p:blipFill>
        <p:spPr>
          <a:xfrm>
            <a:off x="8430167" y="4768585"/>
            <a:ext cx="603554" cy="60499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022D2D1-3E76-6DEC-0715-F2593982EC2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75127"/>
          <a:stretch/>
        </p:blipFill>
        <p:spPr>
          <a:xfrm>
            <a:off x="3969393" y="2015020"/>
            <a:ext cx="592825" cy="592291"/>
          </a:xfrm>
          <a:prstGeom prst="rect">
            <a:avLst/>
          </a:prstGeom>
        </p:spPr>
      </p:pic>
      <p:sp>
        <p:nvSpPr>
          <p:cNvPr id="27" name="TextBox 20">
            <a:extLst>
              <a:ext uri="{FF2B5EF4-FFF2-40B4-BE49-F238E27FC236}">
                <a16:creationId xmlns:a16="http://schemas.microsoft.com/office/drawing/2014/main" id="{652F2F54-10CA-7A01-972F-AB1D8EF7178A}"/>
              </a:ext>
            </a:extLst>
          </p:cNvPr>
          <p:cNvSpPr txBox="1"/>
          <p:nvPr/>
        </p:nvSpPr>
        <p:spPr>
          <a:xfrm>
            <a:off x="132078" y="6200566"/>
            <a:ext cx="3148271" cy="510778"/>
          </a:xfrm>
          <a:prstGeom prst="round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/>
                <a:ea typeface="Calibri"/>
                <a:cs typeface="Calibri"/>
              </a:rPr>
              <a:t>*Beyond scope</a:t>
            </a:r>
            <a:endParaRPr lang="en-US" sz="1000">
              <a:ln w="0"/>
              <a:effectLst>
                <a:outerShdw blurRad="38100" dist="19050" dir="2700000" algn="tl" rotWithShape="0">
                  <a:srgbClr val="3A3A3F">
                    <a:alpha val="40000"/>
                  </a:srgbClr>
                </a:outerShdw>
              </a:effectLst>
              <a:latin typeface="Calibri"/>
              <a:ea typeface="Calibri"/>
              <a:cs typeface="Calibri"/>
            </a:endParaRPr>
          </a:p>
          <a:p>
            <a:endParaRPr lang="en-US" sz="1400">
              <a:ln w="0"/>
              <a:effectLst>
                <a:outerShdw blurRad="38100" dist="19050" dir="2700000" algn="tl" rotWithShape="0">
                  <a:srgbClr val="3A3A3F">
                    <a:alpha val="40000"/>
                  </a:srgbClr>
                </a:outerShdw>
              </a:effectLst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41929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itelformat bearbeite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Textmasterformat bearbeiten&#10;Zweite Ebene&#10;Dritte Ebe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ATWORKDOCUMENTPART:_SIZE" val="1"/>
  <p:tag name="OFFICEATWORKDOCUMENTPART:_0" val="b2ZmaWNlYXR3b3JrRG9jdW1lbnRQYXJ0OlUyRnNkR1ZrWDEvUnlrcVpLS2JLQTdFc1pmcW05d0xqY2FaY1NGR1Y4bWt0OGMxYXRQV0kwekVIMjVKY0d6NXExMXZBbXJxU08vZXVIRzhYSWpWOENYT044UElVcHBZc2ZIakI5ak1SY3h5R2hoQmcrSjRnSGtueXBHWjhvbExOelF6eHVFdWN5cTMrQlRjOWl2S3JiSWorZGZ5R2s0bkJlN3h0ZWs1NnR3OEdtWlpnQnJOTWJWUkFyN3dUMmZwZ0J5SXJmTXpyQTExYjhZVkwxTVpMZnhhcEtSS2pxa3RPd3lJMGtveGpPNjdBcjM1UGNsS2dmejMxRC9YWC84dXl4Z2RDTGpvamswTndDT2l1S1g0U091RldJa1lDWXhJbENzdUptUnRuOHdxaC9PK3lJaVU2blNYVEhidFdRR0w2VU5vODE4bjVOclRSM0tha0RaNGlET1NycTRVZ04wU1A5UTZXcys0NUszUkkvK2NpS25lVitIUkIvYVM5MWtaNzFxZVk3TnFlZFdkNDdXRHUxbytkaWxRWHdWdGQ2UnozMVhXUXZBeENLbVBnUlhwN0ZlQnNCb0hJNStscVB1enJPcThhc2o0dE1aaWVyYmpNMjcrcHdxc2ppL0RHZVlOS3JSNTFHUWt2S1VmMjl4WlVZSUpkT2x5bDVvWnBqcWwreWVOc2h2cmx4UUNvUTF0NXlWMXp3UmlIUlo4VUZma2FVblVxU2ZpVCt2MWJlMlYxbmdJUlF1cTZWUkNBTWIvREoxUnJySzZsRGw0SVFOeGNKYzZJYURtYkpqMkV1SVVKV2I5ZTNJejh2UmVITnRFb3BkbFNmeVFlSklvbzV4R0VjOERVaUNCRUdGTVVoN0dheVFkcmJzQmtLWUQ4aUwvK1lDaG9rWStpUHdSd3YybmN1bGN5bW1wV2FONmdrZzBabVF0K3VSMlVERXQrbGtodlJQenkyaGlQQ3UvTFplb1lNQVY1YnUzK3VUVnl5WG5MTk5hK1RkM1p0ZDRBeU5OK28xQUVvUGxQSnBhVFNZUHJIN1ZaVnpWb1E0Q01kRVIzQUlURXdYUlVUQ29uRHNJYVZPK2NuR3pvZnVqV1JQL1YxSG9LOGtCWXF0b3hWSnpicGpRRW9GdU5IVk53Yy9VMy9UOVE0Q0dLclJ2aEFiUVB3ZjZEajNzNHBIODN4M0RZQ3ZHZHJmQnFZTUJ3S1lyd0wzQjVVMVBCZFh5bkVqWGxobFZiM2liWWFhV2gvbnRvU096bkZLYzhOTndDNXQxZ2dvT2lBbFlKUXVqVFp0ODRSS3R1YUhXaUhxSUQ0b3AyZmllbFBudGZHWnRhQ1pUSEtXcjA1dFNMZ3BYMzlKWEhlYVZVNDBNbTBrRm5YRjB1c3ZLRnlyaVB5TUt0NVc1WUxQRVRXWlY0RW1vbis3UTlHWlJxVlVnMW5jZUhRTG1zaHUxUzRoMHQwWlU0OWdKdVpML01VcEdORnEyampVMS9sakhKRHliZ3poRG00Y2RHQlNjLzF6ZmRkSG0zM0FEdE5Rc09Kbk1KcnB5TlpMbDZ6Q3kzL0llRmROK0Y3RVR0SFlONm5vbDhQN2VFWkdyaUN6b0ZybDVHVUZLMW1zd0NaRTdFTWMwU0JRNjlnZk9mZzJIM0tZSjczeHRQRXN0RHd6c3UvMmk0R3Fsd1RYb3BBb2pMOFdLN2JrbS9mZ01pRnowcU1CKzdxL1Z0dXR0czJ1R29DKzRqKzJ5SkhpTDZKTTMvMEx2bEtGZUFUUlgzRVZiWmltWmNabmQ3WTZibnRwY2pJdHVzWTZNMzZacXNnSjk0TzNUdWRJbWg0RnVMTmVaOU5FQ2dyZDcwcjlrL2krdFpudFo3WW5xWXFWREltZ01ZL2VJYkJaNFNUbFJWNUNEWVV6WXdyWUowbFE5c1NZdUxWVWt4cVJGZCtRcEJnVEtabWJUWkR0RW0wOXUzditha3REN3h6TmJBN3owM2o3dTc4YW5rYXZJKy9kb2hkL0hwN05Rb2ZldjBKS0xnalczMW53bUZYais1UGI2VGM4ZmxHOVNNL2tYUDZRNm1xNGp6Z1haOXpzZ2xLU0FONGRjSHRTU3RQbElYbnhRZkxUMDJaZnVBRGZ4VG15RUlUREIrWldIeTUxZWNPRWVxVTIyWTNtNW50am5VYVdheHB5UXJVZW9HT3VQY1hYcmFzeXJPL3ZNYldrdTlKZkhFdkpPcTN3cGI2MXB0SUtia3VFa05wOTdsSVlCajJ0cWMzZk42bkZjVStEVXpVajFjRVdOQ1NzYjkraVhjTksydGl6NEZRTEoyZFA3NlNZQ0VpeSs3NlB5YURURFFzUm1WcHB5MFhqcERaVXgvcWxHSDJ5VHZyNkxLWkNUamt4TzlZbXhybXZCQW96a1ozK2RaVE1lQlBKTEhtODMvRjhSRmhCYUlIa1JtNDNLQnQvODJpcmRnM3YxeFNpSVdDcU4zdmtoZjZLZjRzeVhYV2U4U0lTM1NUanZiWkJSRlRFMkdVb0xkMmluSzZPN2NURlFZdDM1UmJrcUxaY3daaUJmOWptVExqWVlKdk5lejAzejlSVzVkSUw4ai9QUEV2WktESjRUZ2c3WmZvdTAzMzI4eVBkR3o0VGhzUWpqcFZHUzYxZTRPREhWcDR5ODNGNmlMNVJZVTdhaTN6MnU5OE1KSFVGM3hFR0YzdklrM3VKTVVQZTFxUTNOS3B0NmF4cGFNYVFBMUJOM2hWSjFJNjdObG9Wbnl0NHRHLy8ycWdBbXZTaDY1UzB1VG1vUjZLdmlkRVBCQ2JsK1d6WG5VNWROYnNnRGxjampCaXhOVDBaeEtRMmFpdFVOY1NySVh4ZXZXSGNaRXQyeFBadUQyTUlVZkhpODFYQ0hCVDJ0QUM3LzU2eG5sWVpzVUlVQTMyVVNBMVFlVHRBRTBTMzB2WkFzMXJ5eGNTRWNWbkNLWnFtRmRVUjhaUnJhM3F1U3YwV1hLZFcwMVZ1NXNQQ2lQNzJYV21NanZCQjhVSDFKTHRUWjErdUxqOWpyREtYR3lzdDdWa2lCNFRqZng0R3NTMUFzUXRlRU13NHAyajY3dmR6L0ZXdXVqZzlnSVo4TkZQVGk0WTlXWGdnTVRxb3IwcGV3YkJoSy9IN2xsWHlmZmhEUDlSbUtzOTdBR1gzVlQ0Y2V5YVhSQjRTbkxtY0JwcWd2Q2gvaEU3MTBNN2ovU2lzNDUxbkVPTnpXUUQzejZyRmR6S1IzWGhRMEVPazR2STlEUFp1clQ5VFJUVDEwOG9UV21WVXBJWXFJWU1xdjlpVE5pTFRCOUdERG5vcmkwbEJvaEUwRzErdm9hT1JlS0V4Z2g4elRWVk44ZzRqb09WdXVtMU9BaTVWSnRHeTNUeTNqL0NTOUVCcnp2MlFDWTVGT3pEaTNQRTAxQUVOSVVYQk1oOGcvMU55OGliRnEyT1YvRGovejhwSnBmSGJMZE5lQ1ArenNJMmgza29XRzhCSWd6OW1vZ0R0UnlIZkUvYW9SRzU4L3BPRGo0M2c5ZlEvOUxUb2hqc0xWa3JkK0kvUjR0clVXazBiVEhXbGd3SnlXdFFJZnFMZHhnRzVRSXhXRGdWMUVZanRUOStZWCsva21ra256SE5CdElVSmhBWndFVUp0cmFhQlNENHJsYUFFaC9yNWpEQmc3eVZZRlp3d1ZXRDZJOTkzMzYyVjRmSzcrc1cxMFhtNVdlcnlBM2hHVW1zMHpBczJPU1FtQ1hEUHdtVHBQWHAvT3k4NEFNR1dPZ2oyaEsyWEZsK0ZHNGsxRTVDeGVRcTl0Q3BrV1Rha2FJak5DWkxlZ1VyMHRtb2UxZ254ak5aWnJ2VnRidmRtenlkV0VVMHowY3JiekNzMVBYSmthZkhlUExyR3ZaKzhKSS9QRCtXd1lGRklNOEtQbFViVFVPU3BQS0FEVm5QNUNnVGVOU25NcTR1T3lneWVZZ2VLRlFxSFRwbTB6THJobUV4MUE2UFRJZ21sa3cwQnl1bkFweHIyZGJRcGRtNEcxM0Rac0wwSitVMkJvdWhPOHFPMG9STmc0UlYzMlZrM00zUlFaeSs1eG95SC9zelNiTElSUW9ZN29nZ20yRFhVSGQ0WkJkNDd0c2FPb3pXdWNNUXFxNFV4K1RneDF4QU04NmE2OVFSNC9SQzA4WGZmTzlKdTNZTTNVSGlPY3liMzZjS2plR1NYTlBNTUZQOUVTTnFyb1d4N3ZuaXVWc21sM0lFTmh3dG5lUTBBTk5Xb0pDeXB2N0YyVkdTSEQ2c2VudGFvTXZqaitHM0pydGFQeXMxaDNrNHI2NVJsa2M2UExkVGdZSU9WbGdWeitoU0Yxay9vRjBlVm5vSzhsYncwL1hYNmlPbElOUE85VTUzelhmOW5jZEsvNnVsajNtRHFEcmJKNUtQWDVEeVlpK3J6dEZPbDlJcm5NVUZKQmdnWlV2MmEwUWd1OExXTU9WTTZOVk1iSWlWRThHMnJGMmc0RENWUkppVXRiWG5iUkttK0hJMjhEN1dDazlJS0hUVTR4NUNDTkR5c3E1SmFPZjFmNFU1VTFQTlFPZm5IYVoxcG82VU5kWVdKbDFWdDM5czkvY1JnUy9OUkc1ZGhTQ05IYjFIb1VPZVI1eG0rODZlMG5vUVMyVTBKZ2hIc0pucmFlMDFhT0tHNDVwd3ljbkticFZvK29LVDA2RGV4K3RMM0c3V29TUWJIOUtEeGJ4bGxFKy91Q0J3Unl6TTJaTVhuUG43WU5XWDh6bGxIYm5wSjV0cmM5UEpUN1Y2L3p0MnhTSVBhTnRvRFZ0MlpsTWwySUZIVnhlamt6S2xua3E3UWMvdk9JT3BROGlwcGF4U0lDTmlDZ20xV0NCSzV0THJycGFIaVJ1d29xZUkveG8weFcyMVNzVHgybyt5bFRFTWNVT2ZvU2U4Z1lCM1Y0WUFxbm80bVRnSkVFaXA0QTJITXNhQTN2ZWFQMEZhZEZlb21STzg0aU1JQ253ZmxiUXBtSmNSQXNNMVBuNjdOS2lTbnlVcU1OKzBDLzdZUjhXamRTMlV4azRiT2tnVkZUUDFkZHAxc3QzdklOaUhiM21aaTZhNU1IcjB2b2tNZk1ZT3c4TmxkSEVvaXBVUEpkUjBrdlkrTzErYUxCRGFKbEhoaTgvNy8rRTUvUDFFaitSMi95VU5rcWQ3bU5NV0lOMUtUZ2l4amxvMnZqYU9BcTRIT1hCd0o3QjhBNHAyb1hlMDNXSXdKN0h6aGFucjc2d1ZYZm05VmN5amxLQjBWZjgrSzhoTXNZYWpHNmFrSElXeXN2K2hCbG5ueEtIL1RwSm9ld01VVTZxK2sxZTRMU04yaEdpNDEwazd5aVpxN0ROMU8wL3MyMjVjY2QzdFpKeS9yTFNmd3kwemU0dTR4anFzYUR2REJ3RkJaSU9BNWZoTitCbFlTVlVvbnVWcWpoTjU0WjJxSk1tNXArVit6ZUFoRzB4M2FwVk9XNGY3VWM2dWFzRmFwcjlMV1VoYU9TaG1nWHNCU3JMeXMvbkt4SmpOU3JCd2x3Vk9aVnI2OW1kdjFnc3J3dVE0Nm1YKzczVjdOREdSUzBkc2Qxd2YzZktGWmNBSUpKcDZPZnFETVpncHZOc3lLZnBrb05GWE82Z29yaFp1QkdoMFlJS2NGaXArR2lXd1UrUXp6eGRLTVNtVUVJdGtiQ3V2eDVNYmlVZmJNSjk5VnplMjlHMkFiTzVEclVnRTNqWEtXMXIwZmFENDhMaVpMc2dTRmdTUXBhMlQ3SFBuZHVtQ1E4dURYSndmdXR5aTZoa25rWVMxdEJOUEFNZ2FqeDBuSXE4UVpFVFhYTUtkTGkzY1BMeVV0ZFBvSXRxTWhMNUllY2p3N1k2SHpMZkY1Tkl6RVpBYjFSSTV2MytjUXZpb2FmWXE0RGZXT3hXSFBBcloyZjcxdjBzS3hlNG9RcFBaZWc2eDFjTTZMZjNGby93MTRrd3JaZjhJalVZNi9tRlNWaXE2WkgrZDhYMDQyek1oaks5RjRNeSsyZWY0bi9Nb1BzZUJPNG1JTXBSZzV3Mm1pQVZ1Z2Y2MjFEelNOaWI4MTZta2xRQnNxOUJPSzZhZHhyVjJ0M2Y5QjhNZUpvYVMxbnR3V2h0UldFLzJWRmVuRlI1M3FHRGZnUjZ2MFJza1FFY3pFeW5zVEFML29MOFBBZWxYa09DWkh0TUtrYjlRWW4yMHhyVGUyeCs0RUp1M05IYjFRUjZGNS9yNGRmMWE0enhWU0tIR3VIUnFqQm9vRUNDTW5BQkNmcDRwWDliY2psSG4xWWl6bkNRZVJDMm9IaExOSUVtV0ZxbitXckJoRHJqaWcxTmdoR3czdlNodDBLRG41eFJCcVJtSk90VEo3dlZQQ29aUGdOaFluUGpQcFYyOHNtU3UzYmpIYll6bW9iSzl1ZFF0RDF5aWptd0syUjR2ZE5IVzVzN0gvK0lzSE9udTdwaGRxaE1DV3JiZUdYKzhqTUhLdXpiYlFIR29tUTY3Z3hDY3hDWXlxY0JZTytKKzFUTHFOdzVYSDJ3bWhGTG5PTlUzbW5rWXFSZUY5cU5PejhlQm42VHNxSVl5TlFjenlLNnBnbVFmUjg5b1lGS096c2l2bEtJODdNZi94dlZMUjNsTVlFVzdENk9iUHBjMG9Ka0NaVThaUGdRZHhrN2czNFE0MzE1YkJvOVVZNi8zTlZFMHJNMElBWk5WQ1ZpcXVoelp5WHRGTkMzVW1Nem5MMTNyekRGMEh3c1czY0orUWxldHVpNkNLZVdVdWhVWDJwQXdLUXVPWS9FS25WR3R2K3RQVWlVUUlxeHM2UzNGZmgzdCtiL0hadnBMd1RmdzgycHJvUWhUcDJMVGczMWhneUNZVWdHZ0J2TXlaREdiQmtIZVE2R2UrSlBENGRWb1RZSlJhcWppR2ZodnhCMmFEei9IYk5zV2M4eUNZZFpnYmlJYUJIQzhEdlliVjVkUi9oTUZUVjJyeVFYNkxreUZxNTMwSHd3SFhCRWFSZ3hKZ3NwZkJSVjRJK3RVS1VXQUx1eUtWWm1LVDcxVkVaTW9BV291NlJpYllSQWp3ZnlKcTFMMUJQVXhaU1lldXpVVkdOeVdveDRvNHBNU2VMMWlUK1d4YmZ0Q1kxWjlJWDhycmt6cDhVNjJjNnRLNStFZk5mK0lFZDgvRE9aZkxCMHNJOUlBSXRkNTVua3FRd2ZrNUlvTm5IdG04blRONHJNQnJpWXUvaFFtd0l0V0VhZjYvcWFHcGdtbnJaRG5IUXcxUTI2Q0pCV1RnRWQ0RmtKcjNDNERqcTZ1UjhiNE55RW1kYzhiUkpSTnNpTlBoTVRCUjgrbXdyNVkwdWdZelM1UFRBYzZwY1g1QzdHdG84OXhiSlk2eVovdEZJanowQUxHejZPQVQ5QWZ2VDZqN2sxNGNSMDJTUHkxTC9KQURvMXo5YlRrRW9HTC96Nmpyb1phNVNzcWcrSXFGL3VucjRhOGZmdXJRb3lWU0VnT2xDV0ppbnA0Vis4b2cxVTllRVZ6N2Z1SWlJUHd6VG52VkQwbXB3bzB0ZndUdkUzNThWN3ZYL2JQWFMzV08ya3hyZHdTS1JlZFdkSGEyRlN1ZmJRMGRiUFZ6QXBUb3hocVJ4Q1RRYzlKa3A1clBpVGIvVXlzRTlVMDVWMFRFSHZURDBqQlgwUkQxNytJdmlVY0hyN2JSV2ZoWmlGbXRHMlpyZjQ5S21vajAwM2dCZTQwY0ZzdzV6bkpGemVRZUVVYjViV3RlQWtRQy90YkVMVkVnZC9ROU1kbG81alhQMDBRdU96UVlhRFRWQWtIZTNMSWZqRkFhdllNbVVWS0psZ1RMRUthTFdoeHdmYk9GVXlvdUJWTWg4RlFibUdJa0hqcy9UWWVpU00yVTNhMjNIUTlWalBvU0dvN0p1ZmUwdHJhbzBLVHFHMkdaeEFWTkZ2d09LcCs4dTVrMEhhL0ZKRkN1ZkZScjlkQXpkd1lYRDJRdUNsNTRJSWUxWHc4RGluL2N0U1pjRnpsTDMvWkVCQWQwcG5zbTY5QXEzNVM1N3NTbVVNVGE5Z2pSTUhmbCs5QlFmUStGNXd6YnpidGRuVlJLZEZvWVVmUG1JVko2bUx5REllaTRycDM5ZzdFdjdWOXNKay9QUlprZmcrRXhvT2hFcy9qWFV5cmZnQkFtcWk0MFlsMk1XTlJmZW9ZSEtQQWxrWFJOMXdoa2ZEbk90WGsrTnZ2QncxR29UaUJFUmZ5dXBTd283K2tOOENTQnhKKzdxM2l0a0FBTnlpb2pCWmhCcHc1ZStmZmo5UWtBMTFJa2lYcFFxTzZ6VXlYM3piemtlbzl0R0R2cVpFVCtZbjFsdkk1d2ZvcEpVNnJZa1VmKzFMRlFlVldMejIyMVBPUWpnT05jSDIza0Vsb0ZsanhmQUZzS3lHOS9ES29YcUI5aVNrVFRBVU0zTUQ5UEZLVkpNQTNJcTU1THJSL1VjbmsyOUhkUTZ3bjRHbkdQMVl2VXh5NzdHdFdrNTdMR0FnYmpyVzRhWXlQTU42TGVOVldTb2diZmVPTU9pRS9CM3RRUnVGQXZRPQ"/>
</p:tagLst>
</file>

<file path=ppt/theme/theme1.xml><?xml version="1.0" encoding="utf-8"?>
<a:theme xmlns:a="http://schemas.openxmlformats.org/drawingml/2006/main" name="8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DA89A99-D0A5-684E-9556-1D1BB4DAFE6B}"/>
    </a:ext>
  </a:extLst>
</a:theme>
</file>

<file path=ppt/theme/theme10.xml><?xml version="1.0" encoding="utf-8"?>
<a:theme xmlns:a="http://schemas.openxmlformats.org/drawingml/2006/main" name="6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than's ENTSO-E Template" id="{4A129DD1-7CF3-4779-A108-51F0A1ED7162}" vid="{5D86CC24-6214-4E45-A7C7-73F9DBAC8700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4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ppt/theme/theme3.xml><?xml version="1.0" encoding="utf-8"?>
<a:theme xmlns:a="http://schemas.openxmlformats.org/drawingml/2006/main" name="2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ppt/theme/theme4.xml><?xml version="1.0" encoding="utf-8"?>
<a:theme xmlns:a="http://schemas.openxmlformats.org/drawingml/2006/main" name="6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9B78231-BE7B-1A46-90BB-EF0882821398}" vid="{9E3D5E57-3828-B144-A39F-2BEE5BAE535E}"/>
    </a:ext>
  </a:extLst>
</a:theme>
</file>

<file path=ppt/theme/theme5.xml><?xml version="1.0" encoding="utf-8"?>
<a:theme xmlns:a="http://schemas.openxmlformats.org/drawingml/2006/main" name="5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6436E805-6281-4D28-9214-61C90FC0BFD2}"/>
    </a:ext>
  </a:extLst>
</a:theme>
</file>

<file path=ppt/theme/theme6.xml><?xml version="1.0" encoding="utf-8"?>
<a:theme xmlns:a="http://schemas.openxmlformats.org/drawingml/2006/main" name="7_ENTSO-E Content">
  <a:themeElements>
    <a:clrScheme name="ENTSO-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74489"/>
      </a:accent1>
      <a:accent2>
        <a:srgbClr val="48C3E4"/>
      </a:accent2>
      <a:accent3>
        <a:srgbClr val="E26629"/>
      </a:accent3>
      <a:accent4>
        <a:srgbClr val="009E8E"/>
      </a:accent4>
      <a:accent5>
        <a:srgbClr val="AA207B"/>
      </a:accent5>
      <a:accent6>
        <a:srgbClr val="E3E4E3"/>
      </a:accent6>
      <a:hlink>
        <a:srgbClr val="9D9D9C"/>
      </a:hlink>
      <a:folHlink>
        <a:srgbClr val="C6C6C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6436E805-6281-4D28-9214-61C90FC0BFD2}"/>
    </a:ext>
  </a:extLst>
</a:theme>
</file>

<file path=ppt/theme/theme7.xml><?xml version="1.0" encoding="utf-8"?>
<a:theme xmlns:a="http://schemas.openxmlformats.org/drawingml/2006/main" name="18_ENTSO-E Cover">
  <a:themeElements>
    <a:clrScheme name="ENTSO-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74489"/>
      </a:accent1>
      <a:accent2>
        <a:srgbClr val="48C3E4"/>
      </a:accent2>
      <a:accent3>
        <a:srgbClr val="E26629"/>
      </a:accent3>
      <a:accent4>
        <a:srgbClr val="009E8E"/>
      </a:accent4>
      <a:accent5>
        <a:srgbClr val="AA207B"/>
      </a:accent5>
      <a:accent6>
        <a:srgbClr val="E3E4E3"/>
      </a:accent6>
      <a:hlink>
        <a:srgbClr val="9D9D9C"/>
      </a:hlink>
      <a:folHlink>
        <a:srgbClr val="C6C6C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39F5768D-9D2B-4701-A2E1-104A4AC2C4CB}"/>
    </a:ext>
  </a:extLst>
</a:theme>
</file>

<file path=ppt/theme/theme8.xml><?xml version="1.0" encoding="utf-8"?>
<a:theme xmlns:a="http://schemas.openxmlformats.org/drawingml/2006/main" name="22_ENTSO-E Cover">
  <a:themeElements>
    <a:clrScheme name="ENTSO-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74489"/>
      </a:accent1>
      <a:accent2>
        <a:srgbClr val="48C3E4"/>
      </a:accent2>
      <a:accent3>
        <a:srgbClr val="E26629"/>
      </a:accent3>
      <a:accent4>
        <a:srgbClr val="009E8E"/>
      </a:accent4>
      <a:accent5>
        <a:srgbClr val="AA207B"/>
      </a:accent5>
      <a:accent6>
        <a:srgbClr val="E3E4E3"/>
      </a:accent6>
      <a:hlink>
        <a:srgbClr val="9D9D9C"/>
      </a:hlink>
      <a:folHlink>
        <a:srgbClr val="C6C6C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39F5768D-9D2B-4701-A2E1-104A4AC2C4CB}"/>
    </a:ext>
  </a:extLst>
</a:theme>
</file>

<file path=ppt/theme/theme9.xml><?xml version="1.0" encoding="utf-8"?>
<a:theme xmlns:a="http://schemas.openxmlformats.org/drawingml/2006/main" name="8_ENTSO-E Content">
  <a:themeElements>
    <a:clrScheme name="ENTSO-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74489"/>
      </a:accent1>
      <a:accent2>
        <a:srgbClr val="48C3E4"/>
      </a:accent2>
      <a:accent3>
        <a:srgbClr val="E26629"/>
      </a:accent3>
      <a:accent4>
        <a:srgbClr val="009E8E"/>
      </a:accent4>
      <a:accent5>
        <a:srgbClr val="AA207B"/>
      </a:accent5>
      <a:accent6>
        <a:srgbClr val="E3E4E3"/>
      </a:accent6>
      <a:hlink>
        <a:srgbClr val="9D9D9C"/>
      </a:hlink>
      <a:folHlink>
        <a:srgbClr val="C6C6C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6436E805-6281-4D28-9214-61C90FC0BFD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9F66E0BD7C8443A6BD7E0E0F1EF577" ma:contentTypeVersion="18" ma:contentTypeDescription="Een nieuw document maken." ma:contentTypeScope="" ma:versionID="5c62d7ae68d916da39cb85eac18b8b7f">
  <xsd:schema xmlns:xsd="http://www.w3.org/2001/XMLSchema" xmlns:xs="http://www.w3.org/2001/XMLSchema" xmlns:p="http://schemas.microsoft.com/office/2006/metadata/properties" xmlns:ns2="e03df482-3cf7-4fd4-9a7b-2d24d51037db" xmlns:ns3="ff20b927-0927-4a5a-9de7-00be45a2c44a" targetNamespace="http://schemas.microsoft.com/office/2006/metadata/properties" ma:root="true" ma:fieldsID="882bf63d18f12bc15fdad95fceb2e28b" ns2:_="" ns3:_="">
    <xsd:import namespace="e03df482-3cf7-4fd4-9a7b-2d24d51037db"/>
    <xsd:import namespace="ff20b927-0927-4a5a-9de7-00be45a2c4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3df482-3cf7-4fd4-9a7b-2d24d51037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0d70b09e-f46f-472c-97b7-be66df62a4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20b927-0927-4a5a-9de7-00be45a2c44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2caa816-566a-441f-ae67-949cb385382c}" ma:internalName="TaxCatchAll" ma:showField="CatchAllData" ma:web="ff20b927-0927-4a5a-9de7-00be45a2c4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f20b927-0927-4a5a-9de7-00be45a2c44a" xsi:nil="true"/>
    <lcf76f155ced4ddcb4097134ff3c332f xmlns="e03df482-3cf7-4fd4-9a7b-2d24d51037db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5597C1-91D6-4094-B01E-7C1038CD62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3df482-3cf7-4fd4-9a7b-2d24d51037db"/>
    <ds:schemaRef ds:uri="ff20b927-0927-4a5a-9de7-00be45a2c4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CD0A11-B6E4-4C31-A6FC-5C63DBB515C0}">
  <ds:schemaRefs>
    <ds:schemaRef ds:uri="e03df482-3cf7-4fd4-9a7b-2d24d51037db"/>
    <ds:schemaRef ds:uri="ff20b927-0927-4a5a-9de7-00be45a2c44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426CA80-9150-4D9B-B97C-5F5008D536F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6431d30e-c018-4f72-ad4c-e56e9d03b1f0}" enabled="1" method="Standard" siteId="{f8be18a6-f648-4a47-be73-86d6c5c6604d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3</Words>
  <Application>Microsoft Office PowerPoint</Application>
  <PresentationFormat>Widescreen</PresentationFormat>
  <Paragraphs>110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32" baseType="lpstr">
      <vt:lpstr>.Lucida Grande UI Regular</vt:lpstr>
      <vt:lpstr>Aptos</vt:lpstr>
      <vt:lpstr>Arial</vt:lpstr>
      <vt:lpstr>Browallia New</vt:lpstr>
      <vt:lpstr>Calibri</vt:lpstr>
      <vt:lpstr>Century Gothic</vt:lpstr>
      <vt:lpstr>Courier New</vt:lpstr>
      <vt:lpstr>Franklin Gothic Demi</vt:lpstr>
      <vt:lpstr>Franklin Gothic Medium Cond</vt:lpstr>
      <vt:lpstr>GeosansLight</vt:lpstr>
      <vt:lpstr>Roboto</vt:lpstr>
      <vt:lpstr>Roboto Slab Light</vt:lpstr>
      <vt:lpstr>Roboto Slab Medium</vt:lpstr>
      <vt:lpstr>Trebuchet MS</vt:lpstr>
      <vt:lpstr>Wingdings</vt:lpstr>
      <vt:lpstr>8_ENTSO-E Cover</vt:lpstr>
      <vt:lpstr>4_ENTSO-E Content</vt:lpstr>
      <vt:lpstr>2_ENTSO-E Content</vt:lpstr>
      <vt:lpstr>6_ENTSO-E Content</vt:lpstr>
      <vt:lpstr>5_ENTSO-E Content</vt:lpstr>
      <vt:lpstr>7_ENTSO-E Content</vt:lpstr>
      <vt:lpstr>18_ENTSO-E Cover</vt:lpstr>
      <vt:lpstr>22_ENTSO-E Cover</vt:lpstr>
      <vt:lpstr>8_ENTSO-E Content</vt:lpstr>
      <vt:lpstr>6_ENTSO-E Content</vt:lpstr>
      <vt:lpstr>think-cell Slide</vt:lpstr>
      <vt:lpstr>Grid Action Plan – Action 6: Grid Hosting Capacities</vt:lpstr>
      <vt:lpstr>Grid Action Plan 06- Grid Hosting Capacity Definitions &amp; Pan-EU Overview </vt:lpstr>
      <vt:lpstr>EU Stakeholder Involvement for Capacitypedia and Information Portal &amp; Indicative Timeline</vt:lpstr>
      <vt:lpstr>Conceptual ideas for Information portal Capacitypedia &amp;Pan EU Overview on Grid Hosting Capacities</vt:lpstr>
      <vt:lpstr>Grid Action Plan – Action 6: Digitalising and Streamlining Grid Connection Requests</vt:lpstr>
      <vt:lpstr>Grid Action Plan 06-Digitalising and Streamlining Grid Connection Requests  Preliminary Find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1th Energy Infrastructure Forum</dc:title>
  <dc:creator>Emil Tan</dc:creator>
  <cp:lastModifiedBy>DSO Entity</cp:lastModifiedBy>
  <cp:revision>16</cp:revision>
  <dcterms:created xsi:type="dcterms:W3CDTF">2025-04-16T09:07:08Z</dcterms:created>
  <dcterms:modified xsi:type="dcterms:W3CDTF">2025-05-28T09:2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9F66E0BD7C8443A6BD7E0E0F1EF577</vt:lpwstr>
  </property>
  <property fmtid="{D5CDD505-2E9C-101B-9397-08002B2CF9AE}" pid="3" name="MYENTSOE_Classification2">
    <vt:lpwstr/>
  </property>
  <property fmtid="{D5CDD505-2E9C-101B-9397-08002B2CF9AE}" pid="4" name="Confidentiality">
    <vt:lpwstr/>
  </property>
  <property fmtid="{D5CDD505-2E9C-101B-9397-08002B2CF9AE}" pid="5" name="MYENTSOE_Classification3">
    <vt:lpwstr/>
  </property>
  <property fmtid="{D5CDD505-2E9C-101B-9397-08002B2CF9AE}" pid="6" name="MYENTSOE_PublicType">
    <vt:lpwstr>19;#Extranet|922fc1ba-0c8d-4fbf-b30d-83722d0f30f2</vt:lpwstr>
  </property>
  <property fmtid="{D5CDD505-2E9C-101B-9397-08002B2CF9AE}" pid="7" name="MYENTSOE_SharingType">
    <vt:lpwstr>21;#Shared|04da8cfa-2b68-4725-9db5-e7b66ab623e6</vt:lpwstr>
  </property>
  <property fmtid="{D5CDD505-2E9C-101B-9397-08002B2CF9AE}" pid="8" name="MYENTSOE_DocumentClassification">
    <vt:lpwstr/>
  </property>
  <property fmtid="{D5CDD505-2E9C-101B-9397-08002B2CF9AE}" pid="9" name="MYENTSOE_Classification1">
    <vt:lpwstr/>
  </property>
  <property fmtid="{D5CDD505-2E9C-101B-9397-08002B2CF9AE}" pid="10" name="MYENTSOE_Section">
    <vt:lpwstr>20;#SDC|414c202c-9255-45c1-8290-a69e6acf8153</vt:lpwstr>
  </property>
  <property fmtid="{D5CDD505-2E9C-101B-9397-08002B2CF9AE}" pid="11" name="MYENTSOE_Classification4">
    <vt:lpwstr/>
  </property>
  <property fmtid="{D5CDD505-2E9C-101B-9397-08002B2CF9AE}" pid="12" name="Document Category">
    <vt:lpwstr/>
  </property>
  <property fmtid="{D5CDD505-2E9C-101B-9397-08002B2CF9AE}" pid="13" name="Document_x0020_Category">
    <vt:lpwstr/>
  </property>
  <property fmtid="{D5CDD505-2E9C-101B-9397-08002B2CF9AE}" pid="14" name="MYENTSOE_DataClassification">
    <vt:lpwstr/>
  </property>
  <property fmtid="{D5CDD505-2E9C-101B-9397-08002B2CF9AE}" pid="15" name="ClassificationContentMarkingFooterLocations">
    <vt:lpwstr>8_ENTSO-E Cover:3\4_ENTSO-E Content:3\2_ENTSO-E Content:3\6_ENTSO-E Content:3\5_ENTSO-E Content:3\7_ENTSO-E Content:6\18_ENTSO-E Cover:6\22_ENTSO-E Cover:6\8_ENTSO-E Content:6\6_ENTSO-E Content:4</vt:lpwstr>
  </property>
  <property fmtid="{D5CDD505-2E9C-101B-9397-08002B2CF9AE}" pid="16" name="ClassificationContentMarkingFooterText">
    <vt:lpwstr>Confidentiality: C2 - Internal</vt:lpwstr>
  </property>
  <property fmtid="{D5CDD505-2E9C-101B-9397-08002B2CF9AE}" pid="17" name="MediaServiceImageTags">
    <vt:lpwstr/>
  </property>
</Properties>
</file>